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323" r:id="rId3"/>
    <p:sldId id="324" r:id="rId5"/>
    <p:sldId id="325" r:id="rId6"/>
    <p:sldId id="345" r:id="rId7"/>
    <p:sldId id="346" r:id="rId8"/>
    <p:sldId id="352" r:id="rId9"/>
    <p:sldId id="357" r:id="rId10"/>
    <p:sldId id="353" r:id="rId11"/>
    <p:sldId id="358" r:id="rId12"/>
    <p:sldId id="354" r:id="rId13"/>
    <p:sldId id="355" r:id="rId14"/>
    <p:sldId id="359" r:id="rId15"/>
    <p:sldId id="356" r:id="rId16"/>
    <p:sldId id="360" r:id="rId17"/>
    <p:sldId id="361" r:id="rId18"/>
    <p:sldId id="362" r:id="rId19"/>
    <p:sldId id="347" r:id="rId20"/>
    <p:sldId id="363" r:id="rId21"/>
    <p:sldId id="348" r:id="rId22"/>
    <p:sldId id="364" r:id="rId23"/>
    <p:sldId id="365" r:id="rId24"/>
    <p:sldId id="366" r:id="rId25"/>
    <p:sldId id="367" r:id="rId26"/>
    <p:sldId id="368" r:id="rId27"/>
    <p:sldId id="371" r:id="rId28"/>
    <p:sldId id="372" r:id="rId29"/>
    <p:sldId id="373" r:id="rId30"/>
    <p:sldId id="374" r:id="rId31"/>
    <p:sldId id="375" r:id="rId32"/>
    <p:sldId id="349" r:id="rId33"/>
    <p:sldId id="350" r:id="rId34"/>
    <p:sldId id="376" r:id="rId35"/>
    <p:sldId id="379" r:id="rId36"/>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7B0"/>
    <a:srgbClr val="03A9F3"/>
    <a:srgbClr val="EA0000"/>
    <a:srgbClr val="7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snapToGrid="0">
      <p:cViewPr>
        <p:scale>
          <a:sx n="75" d="100"/>
          <a:sy n="75" d="100"/>
        </p:scale>
        <p:origin x="-1666" y="-638"/>
      </p:cViewPr>
      <p:guideLst>
        <p:guide orient="horz" pos="1620"/>
        <p:guide pos="2880"/>
        <p:guide pos="559"/>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9" Type="http://schemas.openxmlformats.org/officeDocument/2006/relationships/tableStyles" Target="tableStyles.xml"/><Relationship Id="rId38" Type="http://schemas.openxmlformats.org/officeDocument/2006/relationships/viewProps" Target="viewProps.xml"/><Relationship Id="rId37" Type="http://schemas.openxmlformats.org/officeDocument/2006/relationships/presProps" Target="presProps.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936A364-F56D-418B-92EA-B8A9C286C719}"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21F41D1-EB0D-4857-8E93-8C1C831E6153}"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任意多边形 77"/>
          <p:cNvSpPr>
            <a:spLocks noChangeArrowheads="1"/>
          </p:cNvSpPr>
          <p:nvPr userDrawn="1"/>
        </p:nvSpPr>
        <p:spPr bwMode="auto">
          <a:xfrm>
            <a:off x="4159250" y="501650"/>
            <a:ext cx="777875" cy="860425"/>
          </a:xfrm>
          <a:custGeom>
            <a:avLst/>
            <a:gdLst>
              <a:gd name="T0" fmla="*/ 0 w 1002535"/>
              <a:gd name="T1" fmla="*/ 859316 h 1123721"/>
              <a:gd name="T2" fmla="*/ 969484 w 1002535"/>
              <a:gd name="T3" fmla="*/ 0 h 1123721"/>
              <a:gd name="T4" fmla="*/ 1002535 w 1002535"/>
              <a:gd name="T5" fmla="*/ 220338 h 1123721"/>
              <a:gd name="T6" fmla="*/ 506776 w 1002535"/>
              <a:gd name="T7" fmla="*/ 1123721 h 1123721"/>
              <a:gd name="T8" fmla="*/ 0 w 1002535"/>
              <a:gd name="T9" fmla="*/ 859316 h 1123721"/>
              <a:gd name="T10" fmla="*/ 0 60000 65536"/>
              <a:gd name="T11" fmla="*/ 0 60000 65536"/>
              <a:gd name="T12" fmla="*/ 0 60000 65536"/>
              <a:gd name="T13" fmla="*/ 0 60000 65536"/>
              <a:gd name="T14" fmla="*/ 0 60000 65536"/>
              <a:gd name="T15" fmla="*/ 0 w 1002535"/>
              <a:gd name="T16" fmla="*/ 0 h 1123721"/>
              <a:gd name="T17" fmla="*/ 1002535 w 1002535"/>
              <a:gd name="T18" fmla="*/ 1123721 h 1123721"/>
            </a:gdLst>
            <a:ahLst/>
            <a:cxnLst>
              <a:cxn ang="T10">
                <a:pos x="T0" y="T1"/>
              </a:cxn>
              <a:cxn ang="T11">
                <a:pos x="T2" y="T3"/>
              </a:cxn>
              <a:cxn ang="T12">
                <a:pos x="T4" y="T5"/>
              </a:cxn>
              <a:cxn ang="T13">
                <a:pos x="T6" y="T7"/>
              </a:cxn>
              <a:cxn ang="T14">
                <a:pos x="T8" y="T9"/>
              </a:cxn>
            </a:cxnLst>
            <a:rect l="T15" t="T16" r="T17" b="T18"/>
            <a:pathLst>
              <a:path w="1002535" h="1123721">
                <a:moveTo>
                  <a:pt x="0" y="859316"/>
                </a:moveTo>
                <a:lnTo>
                  <a:pt x="969484" y="0"/>
                </a:lnTo>
                <a:lnTo>
                  <a:pt x="1002535" y="220338"/>
                </a:lnTo>
                <a:lnTo>
                  <a:pt x="506776" y="1123721"/>
                </a:lnTo>
                <a:lnTo>
                  <a:pt x="0" y="859316"/>
                </a:lnTo>
                <a:close/>
              </a:path>
            </a:pathLst>
          </a:custGeom>
          <a:solidFill>
            <a:srgbClr val="14B8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8" name="任意多边形 78"/>
          <p:cNvSpPr>
            <a:spLocks noChangeArrowheads="1"/>
          </p:cNvSpPr>
          <p:nvPr userDrawn="1"/>
        </p:nvSpPr>
        <p:spPr bwMode="auto">
          <a:xfrm>
            <a:off x="4578350" y="520700"/>
            <a:ext cx="1255713" cy="784225"/>
          </a:xfrm>
          <a:custGeom>
            <a:avLst/>
            <a:gdLst>
              <a:gd name="T0" fmla="*/ 561861 w 1608463"/>
              <a:gd name="T1" fmla="*/ 0 h 1035585"/>
              <a:gd name="T2" fmla="*/ 0 w 1608463"/>
              <a:gd name="T3" fmla="*/ 1035585 h 1035585"/>
              <a:gd name="T4" fmla="*/ 1608463 w 1608463"/>
              <a:gd name="T5" fmla="*/ 859315 h 1035585"/>
              <a:gd name="T6" fmla="*/ 561861 w 1608463"/>
              <a:gd name="T7" fmla="*/ 0 h 1035585"/>
              <a:gd name="T8" fmla="*/ 0 60000 65536"/>
              <a:gd name="T9" fmla="*/ 0 60000 65536"/>
              <a:gd name="T10" fmla="*/ 0 60000 65536"/>
              <a:gd name="T11" fmla="*/ 0 60000 65536"/>
              <a:gd name="T12" fmla="*/ 0 w 1608463"/>
              <a:gd name="T13" fmla="*/ 0 h 1035585"/>
              <a:gd name="T14" fmla="*/ 1608463 w 1608463"/>
              <a:gd name="T15" fmla="*/ 1035585 h 1035585"/>
            </a:gdLst>
            <a:ahLst/>
            <a:cxnLst>
              <a:cxn ang="T8">
                <a:pos x="T0" y="T1"/>
              </a:cxn>
              <a:cxn ang="T9">
                <a:pos x="T2" y="T3"/>
              </a:cxn>
              <a:cxn ang="T10">
                <a:pos x="T4" y="T5"/>
              </a:cxn>
              <a:cxn ang="T11">
                <a:pos x="T6" y="T7"/>
              </a:cxn>
            </a:cxnLst>
            <a:rect l="T12" t="T13" r="T14" b="T15"/>
            <a:pathLst>
              <a:path w="1608463" h="1035585">
                <a:moveTo>
                  <a:pt x="561861" y="0"/>
                </a:moveTo>
                <a:lnTo>
                  <a:pt x="0" y="1035585"/>
                </a:lnTo>
                <a:lnTo>
                  <a:pt x="1608463" y="859315"/>
                </a:lnTo>
                <a:lnTo>
                  <a:pt x="561861" y="0"/>
                </a:lnTo>
                <a:close/>
              </a:path>
            </a:pathLst>
          </a:custGeom>
          <a:solidFill>
            <a:srgbClr val="4DC4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9" name="任意多边形 38"/>
          <p:cNvSpPr>
            <a:spLocks noChangeArrowheads="1"/>
          </p:cNvSpPr>
          <p:nvPr userDrawn="1"/>
        </p:nvSpPr>
        <p:spPr bwMode="auto">
          <a:xfrm>
            <a:off x="1825625" y="1139825"/>
            <a:ext cx="1701800" cy="636588"/>
          </a:xfrm>
          <a:custGeom>
            <a:avLst/>
            <a:gdLst>
              <a:gd name="T0" fmla="*/ 705079 w 2214390"/>
              <a:gd name="T1" fmla="*/ 165253 h 782197"/>
              <a:gd name="T2" fmla="*/ 2214390 w 2214390"/>
              <a:gd name="T3" fmla="*/ 0 h 782197"/>
              <a:gd name="T4" fmla="*/ 0 w 2214390"/>
              <a:gd name="T5" fmla="*/ 782197 h 782197"/>
              <a:gd name="T6" fmla="*/ 705079 w 2214390"/>
              <a:gd name="T7" fmla="*/ 165253 h 782197"/>
              <a:gd name="T8" fmla="*/ 0 60000 65536"/>
              <a:gd name="T9" fmla="*/ 0 60000 65536"/>
              <a:gd name="T10" fmla="*/ 0 60000 65536"/>
              <a:gd name="T11" fmla="*/ 0 60000 65536"/>
              <a:gd name="T12" fmla="*/ 0 w 2214390"/>
              <a:gd name="T13" fmla="*/ 0 h 782197"/>
              <a:gd name="T14" fmla="*/ 2214390 w 2214390"/>
              <a:gd name="T15" fmla="*/ 782197 h 782197"/>
            </a:gdLst>
            <a:ahLst/>
            <a:cxnLst>
              <a:cxn ang="T8">
                <a:pos x="T0" y="T1"/>
              </a:cxn>
              <a:cxn ang="T9">
                <a:pos x="T2" y="T3"/>
              </a:cxn>
              <a:cxn ang="T10">
                <a:pos x="T4" y="T5"/>
              </a:cxn>
              <a:cxn ang="T11">
                <a:pos x="T6" y="T7"/>
              </a:cxn>
            </a:cxnLst>
            <a:rect l="T12" t="T13" r="T14" b="T15"/>
            <a:pathLst>
              <a:path w="2214390" h="782197">
                <a:moveTo>
                  <a:pt x="705079" y="165253"/>
                </a:moveTo>
                <a:lnTo>
                  <a:pt x="2214390" y="0"/>
                </a:lnTo>
                <a:lnTo>
                  <a:pt x="0" y="782197"/>
                </a:lnTo>
                <a:lnTo>
                  <a:pt x="705079" y="165253"/>
                </a:lnTo>
                <a:close/>
              </a:path>
            </a:pathLst>
          </a:custGeom>
          <a:solidFill>
            <a:srgbClr val="F8A91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0" name="任意多边形 74"/>
          <p:cNvSpPr>
            <a:spLocks noChangeArrowheads="1"/>
          </p:cNvSpPr>
          <p:nvPr userDrawn="1"/>
        </p:nvSpPr>
        <p:spPr bwMode="auto">
          <a:xfrm>
            <a:off x="3544888" y="1123950"/>
            <a:ext cx="603250" cy="561975"/>
          </a:xfrm>
          <a:custGeom>
            <a:avLst/>
            <a:gdLst>
              <a:gd name="T0" fmla="*/ 0 w 804231"/>
              <a:gd name="T1" fmla="*/ 0 h 749147"/>
              <a:gd name="T2" fmla="*/ 804231 w 804231"/>
              <a:gd name="T3" fmla="*/ 55085 h 749147"/>
              <a:gd name="T4" fmla="*/ 760164 w 804231"/>
              <a:gd name="T5" fmla="*/ 749147 h 749147"/>
              <a:gd name="T6" fmla="*/ 0 w 804231"/>
              <a:gd name="T7" fmla="*/ 0 h 749147"/>
              <a:gd name="T8" fmla="*/ 0 60000 65536"/>
              <a:gd name="T9" fmla="*/ 0 60000 65536"/>
              <a:gd name="T10" fmla="*/ 0 60000 65536"/>
              <a:gd name="T11" fmla="*/ 0 60000 65536"/>
              <a:gd name="T12" fmla="*/ 0 w 804231"/>
              <a:gd name="T13" fmla="*/ 0 h 749147"/>
              <a:gd name="T14" fmla="*/ 804231 w 804231"/>
              <a:gd name="T15" fmla="*/ 749147 h 749147"/>
            </a:gdLst>
            <a:ahLst/>
            <a:cxnLst>
              <a:cxn ang="T8">
                <a:pos x="T0" y="T1"/>
              </a:cxn>
              <a:cxn ang="T9">
                <a:pos x="T2" y="T3"/>
              </a:cxn>
              <a:cxn ang="T10">
                <a:pos x="T4" y="T5"/>
              </a:cxn>
              <a:cxn ang="T11">
                <a:pos x="T6" y="T7"/>
              </a:cxn>
            </a:cxnLst>
            <a:rect l="T12" t="T13" r="T14" b="T15"/>
            <a:pathLst>
              <a:path w="804231" h="749147">
                <a:moveTo>
                  <a:pt x="0" y="0"/>
                </a:moveTo>
                <a:lnTo>
                  <a:pt x="804231" y="55085"/>
                </a:lnTo>
                <a:lnTo>
                  <a:pt x="760164" y="749147"/>
                </a:lnTo>
                <a:lnTo>
                  <a:pt x="0" y="0"/>
                </a:lnTo>
                <a:close/>
              </a:path>
            </a:pathLst>
          </a:custGeom>
          <a:solidFill>
            <a:srgbClr val="16B7D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1" name="任意多边形 115"/>
          <p:cNvSpPr>
            <a:spLocks noChangeArrowheads="1"/>
          </p:cNvSpPr>
          <p:nvPr userDrawn="1"/>
        </p:nvSpPr>
        <p:spPr bwMode="auto">
          <a:xfrm>
            <a:off x="7966075" y="-31750"/>
            <a:ext cx="446088" cy="173038"/>
          </a:xfrm>
          <a:custGeom>
            <a:avLst/>
            <a:gdLst>
              <a:gd name="T0" fmla="*/ 0 w 594911"/>
              <a:gd name="T1" fmla="*/ 0 h 187287"/>
              <a:gd name="T2" fmla="*/ 594911 w 594911"/>
              <a:gd name="T3" fmla="*/ 33051 h 187287"/>
              <a:gd name="T4" fmla="*/ 66101 w 594911"/>
              <a:gd name="T5" fmla="*/ 187287 h 187287"/>
              <a:gd name="T6" fmla="*/ 0 w 594911"/>
              <a:gd name="T7" fmla="*/ 0 h 187287"/>
              <a:gd name="T8" fmla="*/ 0 60000 65536"/>
              <a:gd name="T9" fmla="*/ 0 60000 65536"/>
              <a:gd name="T10" fmla="*/ 0 60000 65536"/>
              <a:gd name="T11" fmla="*/ 0 60000 65536"/>
              <a:gd name="T12" fmla="*/ 0 w 594911"/>
              <a:gd name="T13" fmla="*/ 0 h 187287"/>
              <a:gd name="T14" fmla="*/ 594911 w 594911"/>
              <a:gd name="T15" fmla="*/ 187287 h 187287"/>
            </a:gdLst>
            <a:ahLst/>
            <a:cxnLst>
              <a:cxn ang="T8">
                <a:pos x="T0" y="T1"/>
              </a:cxn>
              <a:cxn ang="T9">
                <a:pos x="T2" y="T3"/>
              </a:cxn>
              <a:cxn ang="T10">
                <a:pos x="T4" y="T5"/>
              </a:cxn>
              <a:cxn ang="T11">
                <a:pos x="T6" y="T7"/>
              </a:cxn>
            </a:cxnLst>
            <a:rect l="T12" t="T13" r="T14" b="T15"/>
            <a:pathLst>
              <a:path w="594911" h="187287">
                <a:moveTo>
                  <a:pt x="0" y="0"/>
                </a:moveTo>
                <a:lnTo>
                  <a:pt x="594911" y="33051"/>
                </a:lnTo>
                <a:lnTo>
                  <a:pt x="66101" y="187287"/>
                </a:lnTo>
                <a:lnTo>
                  <a:pt x="0" y="0"/>
                </a:lnTo>
                <a:close/>
              </a:path>
            </a:pathLst>
          </a:custGeom>
          <a:solidFill>
            <a:srgbClr val="1CACB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2" name="任意多边形 72"/>
          <p:cNvSpPr>
            <a:spLocks noChangeArrowheads="1"/>
          </p:cNvSpPr>
          <p:nvPr userDrawn="1"/>
        </p:nvSpPr>
        <p:spPr bwMode="auto">
          <a:xfrm>
            <a:off x="4130675" y="1577975"/>
            <a:ext cx="1404938" cy="1149350"/>
          </a:xfrm>
          <a:custGeom>
            <a:avLst/>
            <a:gdLst>
              <a:gd name="T0" fmla="*/ 495759 w 1850834"/>
              <a:gd name="T1" fmla="*/ 0 h 1531344"/>
              <a:gd name="T2" fmla="*/ 0 w 1850834"/>
              <a:gd name="T3" fmla="*/ 462708 h 1531344"/>
              <a:gd name="T4" fmla="*/ 1850834 w 1850834"/>
              <a:gd name="T5" fmla="*/ 1531344 h 1531344"/>
              <a:gd name="T6" fmla="*/ 495759 w 1850834"/>
              <a:gd name="T7" fmla="*/ 0 h 1531344"/>
              <a:gd name="T8" fmla="*/ 0 60000 65536"/>
              <a:gd name="T9" fmla="*/ 0 60000 65536"/>
              <a:gd name="T10" fmla="*/ 0 60000 65536"/>
              <a:gd name="T11" fmla="*/ 0 60000 65536"/>
              <a:gd name="T12" fmla="*/ 0 w 1850834"/>
              <a:gd name="T13" fmla="*/ 0 h 1531344"/>
              <a:gd name="T14" fmla="*/ 1850834 w 1850834"/>
              <a:gd name="T15" fmla="*/ 1531344 h 1531344"/>
            </a:gdLst>
            <a:ahLst/>
            <a:cxnLst>
              <a:cxn ang="T8">
                <a:pos x="T0" y="T1"/>
              </a:cxn>
              <a:cxn ang="T9">
                <a:pos x="T2" y="T3"/>
              </a:cxn>
              <a:cxn ang="T10">
                <a:pos x="T4" y="T5"/>
              </a:cxn>
              <a:cxn ang="T11">
                <a:pos x="T6" y="T7"/>
              </a:cxn>
            </a:cxnLst>
            <a:rect l="T12" t="T13" r="T14" b="T15"/>
            <a:pathLst>
              <a:path w="1850834" h="1531344">
                <a:moveTo>
                  <a:pt x="495759" y="0"/>
                </a:moveTo>
                <a:lnTo>
                  <a:pt x="0" y="462708"/>
                </a:lnTo>
                <a:lnTo>
                  <a:pt x="1850834" y="1531344"/>
                </a:lnTo>
                <a:lnTo>
                  <a:pt x="495759" y="0"/>
                </a:lnTo>
                <a:close/>
              </a:path>
            </a:pathLst>
          </a:cu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3" name="任意多边形 80"/>
          <p:cNvSpPr>
            <a:spLocks noChangeArrowheads="1"/>
          </p:cNvSpPr>
          <p:nvPr userDrawn="1"/>
        </p:nvSpPr>
        <p:spPr bwMode="auto">
          <a:xfrm>
            <a:off x="4437063" y="1157288"/>
            <a:ext cx="1395412" cy="603250"/>
          </a:xfrm>
          <a:custGeom>
            <a:avLst/>
            <a:gdLst>
              <a:gd name="T0" fmla="*/ 1718631 w 1718631"/>
              <a:gd name="T1" fmla="*/ 0 h 760164"/>
              <a:gd name="T2" fmla="*/ 275421 w 1718631"/>
              <a:gd name="T3" fmla="*/ 760164 h 760164"/>
              <a:gd name="T4" fmla="*/ 0 w 1718631"/>
              <a:gd name="T5" fmla="*/ 473725 h 760164"/>
              <a:gd name="T6" fmla="*/ 1718631 w 1718631"/>
              <a:gd name="T7" fmla="*/ 0 h 760164"/>
              <a:gd name="T8" fmla="*/ 0 60000 65536"/>
              <a:gd name="T9" fmla="*/ 0 60000 65536"/>
              <a:gd name="T10" fmla="*/ 0 60000 65536"/>
              <a:gd name="T11" fmla="*/ 0 60000 65536"/>
              <a:gd name="T12" fmla="*/ 0 w 1718631"/>
              <a:gd name="T13" fmla="*/ 0 h 760164"/>
              <a:gd name="T14" fmla="*/ 1718631 w 1718631"/>
              <a:gd name="T15" fmla="*/ 760164 h 760164"/>
            </a:gdLst>
            <a:ahLst/>
            <a:cxnLst>
              <a:cxn ang="T8">
                <a:pos x="T0" y="T1"/>
              </a:cxn>
              <a:cxn ang="T9">
                <a:pos x="T2" y="T3"/>
              </a:cxn>
              <a:cxn ang="T10">
                <a:pos x="T4" y="T5"/>
              </a:cxn>
              <a:cxn ang="T11">
                <a:pos x="T6" y="T7"/>
              </a:cxn>
            </a:cxnLst>
            <a:rect l="T12" t="T13" r="T14" b="T15"/>
            <a:pathLst>
              <a:path w="1718631" h="760164">
                <a:moveTo>
                  <a:pt x="1718631" y="0"/>
                </a:moveTo>
                <a:lnTo>
                  <a:pt x="275421" y="760164"/>
                </a:lnTo>
                <a:lnTo>
                  <a:pt x="0" y="473725"/>
                </a:lnTo>
                <a:lnTo>
                  <a:pt x="1718631" y="0"/>
                </a:lnTo>
                <a:close/>
              </a:path>
            </a:pathLst>
          </a:custGeom>
          <a:solidFill>
            <a:srgbClr val="C1203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4" name="任意多边形 53"/>
          <p:cNvSpPr>
            <a:spLocks noChangeArrowheads="1"/>
          </p:cNvSpPr>
          <p:nvPr userDrawn="1"/>
        </p:nvSpPr>
        <p:spPr bwMode="auto">
          <a:xfrm rot="260233">
            <a:off x="2644775" y="2041525"/>
            <a:ext cx="581025" cy="300038"/>
          </a:xfrm>
          <a:custGeom>
            <a:avLst/>
            <a:gdLst>
              <a:gd name="T0" fmla="*/ 727113 w 727113"/>
              <a:gd name="T1" fmla="*/ 0 h 352539"/>
              <a:gd name="T2" fmla="*/ 0 w 727113"/>
              <a:gd name="T3" fmla="*/ 308472 h 352539"/>
              <a:gd name="T4" fmla="*/ 462709 w 727113"/>
              <a:gd name="T5" fmla="*/ 352539 h 352539"/>
              <a:gd name="T6" fmla="*/ 727113 w 727113"/>
              <a:gd name="T7" fmla="*/ 0 h 352539"/>
              <a:gd name="T8" fmla="*/ 0 60000 65536"/>
              <a:gd name="T9" fmla="*/ 0 60000 65536"/>
              <a:gd name="T10" fmla="*/ 0 60000 65536"/>
              <a:gd name="T11" fmla="*/ 0 60000 65536"/>
              <a:gd name="T12" fmla="*/ 0 w 727113"/>
              <a:gd name="T13" fmla="*/ 0 h 352539"/>
              <a:gd name="T14" fmla="*/ 727113 w 727113"/>
              <a:gd name="T15" fmla="*/ 352539 h 352539"/>
            </a:gdLst>
            <a:ahLst/>
            <a:cxnLst>
              <a:cxn ang="T8">
                <a:pos x="T0" y="T1"/>
              </a:cxn>
              <a:cxn ang="T9">
                <a:pos x="T2" y="T3"/>
              </a:cxn>
              <a:cxn ang="T10">
                <a:pos x="T4" y="T5"/>
              </a:cxn>
              <a:cxn ang="T11">
                <a:pos x="T6" y="T7"/>
              </a:cxn>
            </a:cxnLst>
            <a:rect l="T12" t="T13" r="T14" b="T15"/>
            <a:pathLst>
              <a:path w="727113" h="352539">
                <a:moveTo>
                  <a:pt x="727113" y="0"/>
                </a:moveTo>
                <a:lnTo>
                  <a:pt x="0" y="308472"/>
                </a:lnTo>
                <a:lnTo>
                  <a:pt x="462709" y="352539"/>
                </a:lnTo>
                <a:lnTo>
                  <a:pt x="727113" y="0"/>
                </a:lnTo>
                <a:close/>
              </a:path>
            </a:pathLst>
          </a:custGeom>
          <a:solidFill>
            <a:srgbClr val="FFB91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5" name="任意多边形 117"/>
          <p:cNvSpPr>
            <a:spLocks noChangeArrowheads="1"/>
          </p:cNvSpPr>
          <p:nvPr userDrawn="1"/>
        </p:nvSpPr>
        <p:spPr bwMode="auto">
          <a:xfrm>
            <a:off x="5849938" y="1338263"/>
            <a:ext cx="414337" cy="446087"/>
          </a:xfrm>
          <a:custGeom>
            <a:avLst/>
            <a:gdLst>
              <a:gd name="T0" fmla="*/ 550843 w 550843"/>
              <a:gd name="T1" fmla="*/ 0 h 594911"/>
              <a:gd name="T2" fmla="*/ 319489 w 550843"/>
              <a:gd name="T3" fmla="*/ 594911 h 594911"/>
              <a:gd name="T4" fmla="*/ 0 w 550843"/>
              <a:gd name="T5" fmla="*/ 583894 h 594911"/>
              <a:gd name="T6" fmla="*/ 550843 w 550843"/>
              <a:gd name="T7" fmla="*/ 0 h 594911"/>
              <a:gd name="T8" fmla="*/ 0 60000 65536"/>
              <a:gd name="T9" fmla="*/ 0 60000 65536"/>
              <a:gd name="T10" fmla="*/ 0 60000 65536"/>
              <a:gd name="T11" fmla="*/ 0 60000 65536"/>
              <a:gd name="T12" fmla="*/ 0 w 550843"/>
              <a:gd name="T13" fmla="*/ 0 h 594911"/>
              <a:gd name="T14" fmla="*/ 550843 w 550843"/>
              <a:gd name="T15" fmla="*/ 594911 h 594911"/>
            </a:gdLst>
            <a:ahLst/>
            <a:cxnLst>
              <a:cxn ang="T8">
                <a:pos x="T0" y="T1"/>
              </a:cxn>
              <a:cxn ang="T9">
                <a:pos x="T2" y="T3"/>
              </a:cxn>
              <a:cxn ang="T10">
                <a:pos x="T4" y="T5"/>
              </a:cxn>
              <a:cxn ang="T11">
                <a:pos x="T6" y="T7"/>
              </a:cxn>
            </a:cxnLst>
            <a:rect l="T12" t="T13" r="T14" b="T15"/>
            <a:pathLst>
              <a:path w="550843" h="594911">
                <a:moveTo>
                  <a:pt x="550843" y="0"/>
                </a:moveTo>
                <a:lnTo>
                  <a:pt x="319489" y="594911"/>
                </a:lnTo>
                <a:lnTo>
                  <a:pt x="0" y="583894"/>
                </a:lnTo>
                <a:lnTo>
                  <a:pt x="550843" y="0"/>
                </a:lnTo>
                <a:close/>
              </a:path>
            </a:pathLst>
          </a:custGeom>
          <a:solidFill>
            <a:srgbClr val="0AAAB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6" name="任意多边形 104"/>
          <p:cNvSpPr>
            <a:spLocks noChangeArrowheads="1"/>
          </p:cNvSpPr>
          <p:nvPr userDrawn="1"/>
        </p:nvSpPr>
        <p:spPr bwMode="auto">
          <a:xfrm>
            <a:off x="5949950" y="1346200"/>
            <a:ext cx="320675" cy="133350"/>
          </a:xfrm>
          <a:custGeom>
            <a:avLst/>
            <a:gdLst>
              <a:gd name="T0" fmla="*/ 132202 w 396607"/>
              <a:gd name="T1" fmla="*/ 0 h 187287"/>
              <a:gd name="T2" fmla="*/ 396607 w 396607"/>
              <a:gd name="T3" fmla="*/ 22034 h 187287"/>
              <a:gd name="T4" fmla="*/ 0 w 396607"/>
              <a:gd name="T5" fmla="*/ 187287 h 187287"/>
              <a:gd name="T6" fmla="*/ 132202 w 396607"/>
              <a:gd name="T7" fmla="*/ 0 h 187287"/>
              <a:gd name="T8" fmla="*/ 0 60000 65536"/>
              <a:gd name="T9" fmla="*/ 0 60000 65536"/>
              <a:gd name="T10" fmla="*/ 0 60000 65536"/>
              <a:gd name="T11" fmla="*/ 0 60000 65536"/>
              <a:gd name="T12" fmla="*/ 0 w 396607"/>
              <a:gd name="T13" fmla="*/ 0 h 187287"/>
              <a:gd name="T14" fmla="*/ 396607 w 396607"/>
              <a:gd name="T15" fmla="*/ 187287 h 187287"/>
            </a:gdLst>
            <a:ahLst/>
            <a:cxnLst>
              <a:cxn ang="T8">
                <a:pos x="T0" y="T1"/>
              </a:cxn>
              <a:cxn ang="T9">
                <a:pos x="T2" y="T3"/>
              </a:cxn>
              <a:cxn ang="T10">
                <a:pos x="T4" y="T5"/>
              </a:cxn>
              <a:cxn ang="T11">
                <a:pos x="T6" y="T7"/>
              </a:cxn>
            </a:cxnLst>
            <a:rect l="T12" t="T13" r="T14" b="T15"/>
            <a:pathLst>
              <a:path w="396607" h="187287">
                <a:moveTo>
                  <a:pt x="132202" y="0"/>
                </a:moveTo>
                <a:lnTo>
                  <a:pt x="396607" y="22034"/>
                </a:lnTo>
                <a:lnTo>
                  <a:pt x="0" y="187287"/>
                </a:lnTo>
                <a:lnTo>
                  <a:pt x="132202" y="0"/>
                </a:lnTo>
                <a:close/>
              </a:path>
            </a:pathLst>
          </a:custGeom>
          <a:solidFill>
            <a:srgbClr val="0A9FB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7" name="任意多边形 102"/>
          <p:cNvSpPr>
            <a:spLocks noChangeArrowheads="1"/>
          </p:cNvSpPr>
          <p:nvPr userDrawn="1"/>
        </p:nvSpPr>
        <p:spPr bwMode="auto">
          <a:xfrm>
            <a:off x="5749925" y="1114425"/>
            <a:ext cx="571500" cy="330200"/>
          </a:xfrm>
          <a:custGeom>
            <a:avLst/>
            <a:gdLst>
              <a:gd name="T0" fmla="*/ 0 w 661012"/>
              <a:gd name="T1" fmla="*/ 132202 h 407624"/>
              <a:gd name="T2" fmla="*/ 661012 w 661012"/>
              <a:gd name="T3" fmla="*/ 0 h 407624"/>
              <a:gd name="T4" fmla="*/ 264405 w 661012"/>
              <a:gd name="T5" fmla="*/ 407624 h 407624"/>
              <a:gd name="T6" fmla="*/ 0 w 661012"/>
              <a:gd name="T7" fmla="*/ 132202 h 407624"/>
              <a:gd name="T8" fmla="*/ 0 60000 65536"/>
              <a:gd name="T9" fmla="*/ 0 60000 65536"/>
              <a:gd name="T10" fmla="*/ 0 60000 65536"/>
              <a:gd name="T11" fmla="*/ 0 60000 65536"/>
              <a:gd name="T12" fmla="*/ 0 w 661012"/>
              <a:gd name="T13" fmla="*/ 0 h 407624"/>
              <a:gd name="T14" fmla="*/ 661012 w 661012"/>
              <a:gd name="T15" fmla="*/ 407624 h 407624"/>
            </a:gdLst>
            <a:ahLst/>
            <a:cxnLst>
              <a:cxn ang="T8">
                <a:pos x="T0" y="T1"/>
              </a:cxn>
              <a:cxn ang="T9">
                <a:pos x="T2" y="T3"/>
              </a:cxn>
              <a:cxn ang="T10">
                <a:pos x="T4" y="T5"/>
              </a:cxn>
              <a:cxn ang="T11">
                <a:pos x="T6" y="T7"/>
              </a:cxn>
            </a:cxnLst>
            <a:rect l="T12" t="T13" r="T14" b="T15"/>
            <a:pathLst>
              <a:path w="661012" h="407624">
                <a:moveTo>
                  <a:pt x="0" y="132202"/>
                </a:moveTo>
                <a:lnTo>
                  <a:pt x="661012" y="0"/>
                </a:lnTo>
                <a:lnTo>
                  <a:pt x="264405" y="407624"/>
                </a:lnTo>
                <a:lnTo>
                  <a:pt x="0" y="132202"/>
                </a:lnTo>
                <a:close/>
              </a:path>
            </a:pathLst>
          </a:custGeom>
          <a:solidFill>
            <a:srgbClr val="E821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8" name="任意多边形 97"/>
          <p:cNvSpPr>
            <a:spLocks noChangeArrowheads="1"/>
          </p:cNvSpPr>
          <p:nvPr userDrawn="1"/>
        </p:nvSpPr>
        <p:spPr bwMode="auto">
          <a:xfrm>
            <a:off x="5486400" y="263525"/>
            <a:ext cx="504825" cy="884238"/>
          </a:xfrm>
          <a:custGeom>
            <a:avLst/>
            <a:gdLst>
              <a:gd name="T0" fmla="*/ 0 w 649995"/>
              <a:gd name="T1" fmla="*/ 594911 h 1178805"/>
              <a:gd name="T2" fmla="*/ 649995 w 649995"/>
              <a:gd name="T3" fmla="*/ 0 h 1178805"/>
              <a:gd name="T4" fmla="*/ 385590 w 649995"/>
              <a:gd name="T5" fmla="*/ 1178805 h 1178805"/>
              <a:gd name="T6" fmla="*/ 0 w 649995"/>
              <a:gd name="T7" fmla="*/ 594911 h 1178805"/>
              <a:gd name="T8" fmla="*/ 0 60000 65536"/>
              <a:gd name="T9" fmla="*/ 0 60000 65536"/>
              <a:gd name="T10" fmla="*/ 0 60000 65536"/>
              <a:gd name="T11" fmla="*/ 0 60000 65536"/>
              <a:gd name="T12" fmla="*/ 0 w 649995"/>
              <a:gd name="T13" fmla="*/ 0 h 1178805"/>
              <a:gd name="T14" fmla="*/ 649995 w 649995"/>
              <a:gd name="T15" fmla="*/ 1178805 h 1178805"/>
            </a:gdLst>
            <a:ahLst/>
            <a:cxnLst>
              <a:cxn ang="T8">
                <a:pos x="T0" y="T1"/>
              </a:cxn>
              <a:cxn ang="T9">
                <a:pos x="T2" y="T3"/>
              </a:cxn>
              <a:cxn ang="T10">
                <a:pos x="T4" y="T5"/>
              </a:cxn>
              <a:cxn ang="T11">
                <a:pos x="T6" y="T7"/>
              </a:cxn>
            </a:cxnLst>
            <a:rect l="T12" t="T13" r="T14" b="T15"/>
            <a:pathLst>
              <a:path w="649995" h="1178805">
                <a:moveTo>
                  <a:pt x="0" y="594911"/>
                </a:moveTo>
                <a:lnTo>
                  <a:pt x="649995" y="0"/>
                </a:lnTo>
                <a:lnTo>
                  <a:pt x="385590" y="1178805"/>
                </a:lnTo>
                <a:lnTo>
                  <a:pt x="0" y="594911"/>
                </a:lnTo>
                <a:close/>
              </a:path>
            </a:pathLst>
          </a:custGeom>
          <a:solidFill>
            <a:srgbClr val="1D97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9" name="任意多边形 71"/>
          <p:cNvSpPr>
            <a:spLocks noChangeArrowheads="1"/>
          </p:cNvSpPr>
          <p:nvPr userDrawn="1"/>
        </p:nvSpPr>
        <p:spPr bwMode="auto">
          <a:xfrm>
            <a:off x="4148138" y="1925638"/>
            <a:ext cx="1387475" cy="801687"/>
          </a:xfrm>
          <a:custGeom>
            <a:avLst/>
            <a:gdLst>
              <a:gd name="T0" fmla="*/ 0 w 1806767"/>
              <a:gd name="T1" fmla="*/ 0 h 1046602"/>
              <a:gd name="T2" fmla="*/ 1806767 w 1806767"/>
              <a:gd name="T3" fmla="*/ 1046602 h 1046602"/>
              <a:gd name="T4" fmla="*/ 11017 w 1806767"/>
              <a:gd name="T5" fmla="*/ 738130 h 1046602"/>
              <a:gd name="T6" fmla="*/ 0 w 1806767"/>
              <a:gd name="T7" fmla="*/ 0 h 1046602"/>
              <a:gd name="T8" fmla="*/ 0 60000 65536"/>
              <a:gd name="T9" fmla="*/ 0 60000 65536"/>
              <a:gd name="T10" fmla="*/ 0 60000 65536"/>
              <a:gd name="T11" fmla="*/ 0 60000 65536"/>
              <a:gd name="T12" fmla="*/ 0 w 1806767"/>
              <a:gd name="T13" fmla="*/ 0 h 1046602"/>
              <a:gd name="T14" fmla="*/ 1806767 w 1806767"/>
              <a:gd name="T15" fmla="*/ 1046602 h 1046602"/>
            </a:gdLst>
            <a:ahLst/>
            <a:cxnLst>
              <a:cxn ang="T8">
                <a:pos x="T0" y="T1"/>
              </a:cxn>
              <a:cxn ang="T9">
                <a:pos x="T2" y="T3"/>
              </a:cxn>
              <a:cxn ang="T10">
                <a:pos x="T4" y="T5"/>
              </a:cxn>
              <a:cxn ang="T11">
                <a:pos x="T6" y="T7"/>
              </a:cxn>
            </a:cxnLst>
            <a:rect l="T12" t="T13" r="T14" b="T15"/>
            <a:pathLst>
              <a:path w="1806767" h="1046602">
                <a:moveTo>
                  <a:pt x="0" y="0"/>
                </a:moveTo>
                <a:lnTo>
                  <a:pt x="1806767" y="1046602"/>
                </a:lnTo>
                <a:lnTo>
                  <a:pt x="11017" y="738130"/>
                </a:lnTo>
                <a:lnTo>
                  <a:pt x="0" y="0"/>
                </a:lnTo>
                <a:close/>
              </a:path>
            </a:pathLst>
          </a:custGeom>
          <a:solidFill>
            <a:srgbClr val="1468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20" name="任意多边形 30"/>
          <p:cNvSpPr>
            <a:spLocks noChangeArrowheads="1"/>
          </p:cNvSpPr>
          <p:nvPr userDrawn="1"/>
        </p:nvSpPr>
        <p:spPr bwMode="auto">
          <a:xfrm>
            <a:off x="247650" y="3536950"/>
            <a:ext cx="866775" cy="520700"/>
          </a:xfrm>
          <a:custGeom>
            <a:avLst/>
            <a:gdLst>
              <a:gd name="T0" fmla="*/ 0 w 1156771"/>
              <a:gd name="T1" fmla="*/ 143219 h 694063"/>
              <a:gd name="T2" fmla="*/ 1156771 w 1156771"/>
              <a:gd name="T3" fmla="*/ 0 h 694063"/>
              <a:gd name="T4" fmla="*/ 506776 w 1156771"/>
              <a:gd name="T5" fmla="*/ 694063 h 694063"/>
              <a:gd name="T6" fmla="*/ 0 w 1156771"/>
              <a:gd name="T7" fmla="*/ 143219 h 694063"/>
              <a:gd name="T8" fmla="*/ 0 60000 65536"/>
              <a:gd name="T9" fmla="*/ 0 60000 65536"/>
              <a:gd name="T10" fmla="*/ 0 60000 65536"/>
              <a:gd name="T11" fmla="*/ 0 60000 65536"/>
              <a:gd name="T12" fmla="*/ 0 w 1156771"/>
              <a:gd name="T13" fmla="*/ 0 h 694063"/>
              <a:gd name="T14" fmla="*/ 1156771 w 1156771"/>
              <a:gd name="T15" fmla="*/ 694063 h 694063"/>
            </a:gdLst>
            <a:ahLst/>
            <a:cxnLst>
              <a:cxn ang="T8">
                <a:pos x="T0" y="T1"/>
              </a:cxn>
              <a:cxn ang="T9">
                <a:pos x="T2" y="T3"/>
              </a:cxn>
              <a:cxn ang="T10">
                <a:pos x="T4" y="T5"/>
              </a:cxn>
              <a:cxn ang="T11">
                <a:pos x="T6" y="T7"/>
              </a:cxn>
            </a:cxnLst>
            <a:rect l="T12" t="T13" r="T14" b="T15"/>
            <a:pathLst>
              <a:path w="1156771" h="694063">
                <a:moveTo>
                  <a:pt x="0" y="143219"/>
                </a:moveTo>
                <a:lnTo>
                  <a:pt x="1156771" y="0"/>
                </a:lnTo>
                <a:lnTo>
                  <a:pt x="506776" y="694063"/>
                </a:lnTo>
                <a:lnTo>
                  <a:pt x="0" y="143219"/>
                </a:lnTo>
                <a:close/>
              </a:path>
            </a:pathLst>
          </a:custGeom>
          <a:solidFill>
            <a:srgbClr val="E9253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21" name="任意多边形 58"/>
          <p:cNvSpPr>
            <a:spLocks noChangeArrowheads="1"/>
          </p:cNvSpPr>
          <p:nvPr userDrawn="1"/>
        </p:nvSpPr>
        <p:spPr bwMode="auto">
          <a:xfrm>
            <a:off x="3081338" y="2544763"/>
            <a:ext cx="966787" cy="265112"/>
          </a:xfrm>
          <a:custGeom>
            <a:avLst/>
            <a:gdLst>
              <a:gd name="T0" fmla="*/ 0 w 1288973"/>
              <a:gd name="T1" fmla="*/ 264405 h 319489"/>
              <a:gd name="T2" fmla="*/ 1288973 w 1288973"/>
              <a:gd name="T3" fmla="*/ 319489 h 319489"/>
              <a:gd name="T4" fmla="*/ 1079653 w 1288973"/>
              <a:gd name="T5" fmla="*/ 0 h 319489"/>
              <a:gd name="T6" fmla="*/ 0 w 1288973"/>
              <a:gd name="T7" fmla="*/ 264405 h 319489"/>
              <a:gd name="T8" fmla="*/ 0 60000 65536"/>
              <a:gd name="T9" fmla="*/ 0 60000 65536"/>
              <a:gd name="T10" fmla="*/ 0 60000 65536"/>
              <a:gd name="T11" fmla="*/ 0 60000 65536"/>
              <a:gd name="T12" fmla="*/ 0 w 1288973"/>
              <a:gd name="T13" fmla="*/ 0 h 319489"/>
              <a:gd name="T14" fmla="*/ 1288973 w 1288973"/>
              <a:gd name="T15" fmla="*/ 319489 h 319489"/>
            </a:gdLst>
            <a:ahLst/>
            <a:cxnLst>
              <a:cxn ang="T8">
                <a:pos x="T0" y="T1"/>
              </a:cxn>
              <a:cxn ang="T9">
                <a:pos x="T2" y="T3"/>
              </a:cxn>
              <a:cxn ang="T10">
                <a:pos x="T4" y="T5"/>
              </a:cxn>
              <a:cxn ang="T11">
                <a:pos x="T6" y="T7"/>
              </a:cxn>
            </a:cxnLst>
            <a:rect l="T12" t="T13" r="T14" b="T15"/>
            <a:pathLst>
              <a:path w="1288973" h="319489">
                <a:moveTo>
                  <a:pt x="0" y="264405"/>
                </a:moveTo>
                <a:lnTo>
                  <a:pt x="1288973" y="319489"/>
                </a:lnTo>
                <a:lnTo>
                  <a:pt x="1079653" y="0"/>
                </a:lnTo>
                <a:lnTo>
                  <a:pt x="0" y="264405"/>
                </a:lnTo>
                <a:close/>
              </a:path>
            </a:pathLst>
          </a:custGeom>
          <a:solidFill>
            <a:srgbClr val="0E8B9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22" name="任意多边形 55"/>
          <p:cNvSpPr>
            <a:spLocks noChangeArrowheads="1"/>
          </p:cNvSpPr>
          <p:nvPr userDrawn="1"/>
        </p:nvSpPr>
        <p:spPr bwMode="auto">
          <a:xfrm>
            <a:off x="2998788" y="2098675"/>
            <a:ext cx="1182687" cy="412750"/>
          </a:xfrm>
          <a:custGeom>
            <a:avLst/>
            <a:gdLst>
              <a:gd name="T0" fmla="*/ 0 w 1575412"/>
              <a:gd name="T1" fmla="*/ 341523 h 550844"/>
              <a:gd name="T2" fmla="*/ 1575412 w 1575412"/>
              <a:gd name="T3" fmla="*/ 550844 h 550844"/>
              <a:gd name="T4" fmla="*/ 253388 w 1575412"/>
              <a:gd name="T5" fmla="*/ 0 h 550844"/>
              <a:gd name="T6" fmla="*/ 0 w 1575412"/>
              <a:gd name="T7" fmla="*/ 341523 h 550844"/>
              <a:gd name="T8" fmla="*/ 0 60000 65536"/>
              <a:gd name="T9" fmla="*/ 0 60000 65536"/>
              <a:gd name="T10" fmla="*/ 0 60000 65536"/>
              <a:gd name="T11" fmla="*/ 0 60000 65536"/>
              <a:gd name="T12" fmla="*/ 0 w 1575412"/>
              <a:gd name="T13" fmla="*/ 0 h 550844"/>
              <a:gd name="T14" fmla="*/ 1575412 w 1575412"/>
              <a:gd name="T15" fmla="*/ 550844 h 550844"/>
            </a:gdLst>
            <a:ahLst/>
            <a:cxnLst>
              <a:cxn ang="T8">
                <a:pos x="T0" y="T1"/>
              </a:cxn>
              <a:cxn ang="T9">
                <a:pos x="T2" y="T3"/>
              </a:cxn>
              <a:cxn ang="T10">
                <a:pos x="T4" y="T5"/>
              </a:cxn>
              <a:cxn ang="T11">
                <a:pos x="T6" y="T7"/>
              </a:cxn>
            </a:cxnLst>
            <a:rect l="T12" t="T13" r="T14" b="T15"/>
            <a:pathLst>
              <a:path w="1575412" h="550844">
                <a:moveTo>
                  <a:pt x="0" y="341523"/>
                </a:moveTo>
                <a:lnTo>
                  <a:pt x="1575412" y="550844"/>
                </a:lnTo>
                <a:lnTo>
                  <a:pt x="253388" y="0"/>
                </a:lnTo>
                <a:lnTo>
                  <a:pt x="0" y="341523"/>
                </a:lnTo>
                <a:close/>
              </a:path>
            </a:pathLst>
          </a:custGeom>
          <a:solidFill>
            <a:srgbClr val="F5922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23" name="任意多边形 56"/>
          <p:cNvSpPr>
            <a:spLocks noChangeArrowheads="1"/>
          </p:cNvSpPr>
          <p:nvPr userDrawn="1"/>
        </p:nvSpPr>
        <p:spPr bwMode="auto">
          <a:xfrm>
            <a:off x="3106738" y="1892300"/>
            <a:ext cx="1058862" cy="619125"/>
          </a:xfrm>
          <a:custGeom>
            <a:avLst/>
            <a:gdLst>
              <a:gd name="T0" fmla="*/ 0 w 1311007"/>
              <a:gd name="T1" fmla="*/ 220337 h 782198"/>
              <a:gd name="T2" fmla="*/ 1311007 w 1311007"/>
              <a:gd name="T3" fmla="*/ 782198 h 782198"/>
              <a:gd name="T4" fmla="*/ 1288973 w 1311007"/>
              <a:gd name="T5" fmla="*/ 0 h 782198"/>
              <a:gd name="T6" fmla="*/ 0 w 1311007"/>
              <a:gd name="T7" fmla="*/ 220337 h 782198"/>
              <a:gd name="T8" fmla="*/ 0 60000 65536"/>
              <a:gd name="T9" fmla="*/ 0 60000 65536"/>
              <a:gd name="T10" fmla="*/ 0 60000 65536"/>
              <a:gd name="T11" fmla="*/ 0 60000 65536"/>
              <a:gd name="T12" fmla="*/ 0 w 1311007"/>
              <a:gd name="T13" fmla="*/ 0 h 782198"/>
              <a:gd name="T14" fmla="*/ 1311007 w 1311007"/>
              <a:gd name="T15" fmla="*/ 782198 h 782198"/>
            </a:gdLst>
            <a:ahLst/>
            <a:cxnLst>
              <a:cxn ang="T8">
                <a:pos x="T0" y="T1"/>
              </a:cxn>
              <a:cxn ang="T9">
                <a:pos x="T2" y="T3"/>
              </a:cxn>
              <a:cxn ang="T10">
                <a:pos x="T4" y="T5"/>
              </a:cxn>
              <a:cxn ang="T11">
                <a:pos x="T6" y="T7"/>
              </a:cxn>
            </a:cxnLst>
            <a:rect l="T12" t="T13" r="T14" b="T15"/>
            <a:pathLst>
              <a:path w="1311007" h="782198">
                <a:moveTo>
                  <a:pt x="0" y="220337"/>
                </a:moveTo>
                <a:lnTo>
                  <a:pt x="1311007" y="782198"/>
                </a:lnTo>
                <a:lnTo>
                  <a:pt x="1288973" y="0"/>
                </a:lnTo>
                <a:lnTo>
                  <a:pt x="0" y="220337"/>
                </a:lnTo>
                <a:close/>
              </a:path>
            </a:pathLst>
          </a:custGeom>
          <a:solidFill>
            <a:srgbClr val="E9792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24" name="任意多边形 69"/>
          <p:cNvSpPr>
            <a:spLocks noChangeArrowheads="1"/>
          </p:cNvSpPr>
          <p:nvPr userDrawn="1"/>
        </p:nvSpPr>
        <p:spPr bwMode="auto">
          <a:xfrm>
            <a:off x="4627563" y="2536825"/>
            <a:ext cx="874712" cy="255588"/>
          </a:xfrm>
          <a:custGeom>
            <a:avLst/>
            <a:gdLst>
              <a:gd name="T0" fmla="*/ 0 w 1134738"/>
              <a:gd name="T1" fmla="*/ 0 h 308472"/>
              <a:gd name="T2" fmla="*/ 1134738 w 1134738"/>
              <a:gd name="T3" fmla="*/ 220337 h 308472"/>
              <a:gd name="T4" fmla="*/ 1013552 w 1134738"/>
              <a:gd name="T5" fmla="*/ 308472 h 308472"/>
              <a:gd name="T6" fmla="*/ 0 w 1134738"/>
              <a:gd name="T7" fmla="*/ 0 h 308472"/>
              <a:gd name="T8" fmla="*/ 0 60000 65536"/>
              <a:gd name="T9" fmla="*/ 0 60000 65536"/>
              <a:gd name="T10" fmla="*/ 0 60000 65536"/>
              <a:gd name="T11" fmla="*/ 0 60000 65536"/>
              <a:gd name="T12" fmla="*/ 0 w 1134738"/>
              <a:gd name="T13" fmla="*/ 0 h 308472"/>
              <a:gd name="T14" fmla="*/ 1134738 w 1134738"/>
              <a:gd name="T15" fmla="*/ 308472 h 308472"/>
            </a:gdLst>
            <a:ahLst/>
            <a:cxnLst>
              <a:cxn ang="T8">
                <a:pos x="T0" y="T1"/>
              </a:cxn>
              <a:cxn ang="T9">
                <a:pos x="T2" y="T3"/>
              </a:cxn>
              <a:cxn ang="T10">
                <a:pos x="T4" y="T5"/>
              </a:cxn>
              <a:cxn ang="T11">
                <a:pos x="T6" y="T7"/>
              </a:cxn>
            </a:cxnLst>
            <a:rect l="T12" t="T13" r="T14" b="T15"/>
            <a:pathLst>
              <a:path w="1134738" h="308472">
                <a:moveTo>
                  <a:pt x="0" y="0"/>
                </a:moveTo>
                <a:lnTo>
                  <a:pt x="1134738" y="220337"/>
                </a:lnTo>
                <a:lnTo>
                  <a:pt x="1013552" y="308472"/>
                </a:lnTo>
                <a:lnTo>
                  <a:pt x="0" y="0"/>
                </a:lnTo>
                <a:close/>
              </a:path>
            </a:pathLst>
          </a:custGeom>
          <a:solidFill>
            <a:srgbClr val="1699D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25" name="任意多边形 44"/>
          <p:cNvSpPr>
            <a:spLocks noChangeArrowheads="1"/>
          </p:cNvSpPr>
          <p:nvPr userDrawn="1"/>
        </p:nvSpPr>
        <p:spPr bwMode="auto">
          <a:xfrm>
            <a:off x="3114675" y="1098550"/>
            <a:ext cx="455613" cy="636588"/>
          </a:xfrm>
          <a:custGeom>
            <a:avLst/>
            <a:gdLst>
              <a:gd name="T0" fmla="*/ 0 w 528810"/>
              <a:gd name="T1" fmla="*/ 793215 h 793215"/>
              <a:gd name="T2" fmla="*/ 462709 w 528810"/>
              <a:gd name="T3" fmla="*/ 506776 h 793215"/>
              <a:gd name="T4" fmla="*/ 528810 w 528810"/>
              <a:gd name="T5" fmla="*/ 0 h 793215"/>
              <a:gd name="T6" fmla="*/ 0 w 528810"/>
              <a:gd name="T7" fmla="*/ 793215 h 793215"/>
              <a:gd name="T8" fmla="*/ 0 60000 65536"/>
              <a:gd name="T9" fmla="*/ 0 60000 65536"/>
              <a:gd name="T10" fmla="*/ 0 60000 65536"/>
              <a:gd name="T11" fmla="*/ 0 60000 65536"/>
              <a:gd name="T12" fmla="*/ 0 w 528810"/>
              <a:gd name="T13" fmla="*/ 0 h 793215"/>
              <a:gd name="T14" fmla="*/ 528810 w 528810"/>
              <a:gd name="T15" fmla="*/ 793215 h 793215"/>
            </a:gdLst>
            <a:ahLst/>
            <a:cxnLst>
              <a:cxn ang="T8">
                <a:pos x="T0" y="T1"/>
              </a:cxn>
              <a:cxn ang="T9">
                <a:pos x="T2" y="T3"/>
              </a:cxn>
              <a:cxn ang="T10">
                <a:pos x="T4" y="T5"/>
              </a:cxn>
              <a:cxn ang="T11">
                <a:pos x="T6" y="T7"/>
              </a:cxn>
            </a:cxnLst>
            <a:rect l="T12" t="T13" r="T14" b="T15"/>
            <a:pathLst>
              <a:path w="528810" h="793215">
                <a:moveTo>
                  <a:pt x="0" y="793215"/>
                </a:moveTo>
                <a:lnTo>
                  <a:pt x="462709" y="506776"/>
                </a:lnTo>
                <a:lnTo>
                  <a:pt x="528810" y="0"/>
                </a:lnTo>
                <a:lnTo>
                  <a:pt x="0" y="793215"/>
                </a:lnTo>
                <a:close/>
              </a:path>
            </a:pathLst>
          </a:custGeom>
          <a:solidFill>
            <a:srgbClr val="40C6D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26" name="任意多边形 101"/>
          <p:cNvSpPr>
            <a:spLocks noChangeArrowheads="1"/>
          </p:cNvSpPr>
          <p:nvPr userDrawn="1"/>
        </p:nvSpPr>
        <p:spPr bwMode="auto">
          <a:xfrm>
            <a:off x="5562600" y="1146175"/>
            <a:ext cx="463550" cy="388938"/>
          </a:xfrm>
          <a:custGeom>
            <a:avLst/>
            <a:gdLst>
              <a:gd name="T0" fmla="*/ 242371 w 594911"/>
              <a:gd name="T1" fmla="*/ 0 h 440675"/>
              <a:gd name="T2" fmla="*/ 594911 w 594911"/>
              <a:gd name="T3" fmla="*/ 330506 h 440675"/>
              <a:gd name="T4" fmla="*/ 0 w 594911"/>
              <a:gd name="T5" fmla="*/ 440675 h 440675"/>
              <a:gd name="T6" fmla="*/ 242371 w 594911"/>
              <a:gd name="T7" fmla="*/ 0 h 440675"/>
              <a:gd name="T8" fmla="*/ 0 60000 65536"/>
              <a:gd name="T9" fmla="*/ 0 60000 65536"/>
              <a:gd name="T10" fmla="*/ 0 60000 65536"/>
              <a:gd name="T11" fmla="*/ 0 60000 65536"/>
              <a:gd name="T12" fmla="*/ 0 w 594911"/>
              <a:gd name="T13" fmla="*/ 0 h 440675"/>
              <a:gd name="T14" fmla="*/ 594911 w 594911"/>
              <a:gd name="T15" fmla="*/ 440675 h 440675"/>
            </a:gdLst>
            <a:ahLst/>
            <a:cxnLst>
              <a:cxn ang="T8">
                <a:pos x="T0" y="T1"/>
              </a:cxn>
              <a:cxn ang="T9">
                <a:pos x="T2" y="T3"/>
              </a:cxn>
              <a:cxn ang="T10">
                <a:pos x="T4" y="T5"/>
              </a:cxn>
              <a:cxn ang="T11">
                <a:pos x="T6" y="T7"/>
              </a:cxn>
            </a:cxnLst>
            <a:rect l="T12" t="T13" r="T14" b="T15"/>
            <a:pathLst>
              <a:path w="594911" h="440675">
                <a:moveTo>
                  <a:pt x="242371" y="0"/>
                </a:moveTo>
                <a:lnTo>
                  <a:pt x="594911" y="330506"/>
                </a:lnTo>
                <a:lnTo>
                  <a:pt x="0" y="440675"/>
                </a:lnTo>
                <a:lnTo>
                  <a:pt x="242371" y="0"/>
                </a:lnTo>
                <a:close/>
              </a:path>
            </a:pathLst>
          </a:custGeom>
          <a:solidFill>
            <a:srgbClr val="C0203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27" name="任意多边形 109"/>
          <p:cNvSpPr>
            <a:spLocks noChangeArrowheads="1"/>
          </p:cNvSpPr>
          <p:nvPr userDrawn="1"/>
        </p:nvSpPr>
        <p:spPr bwMode="auto">
          <a:xfrm>
            <a:off x="5749925" y="1108075"/>
            <a:ext cx="603250" cy="130175"/>
          </a:xfrm>
          <a:custGeom>
            <a:avLst/>
            <a:gdLst>
              <a:gd name="T0" fmla="*/ 0 w 738131"/>
              <a:gd name="T1" fmla="*/ 55085 h 187287"/>
              <a:gd name="T2" fmla="*/ 738131 w 738131"/>
              <a:gd name="T3" fmla="*/ 0 h 187287"/>
              <a:gd name="T4" fmla="*/ 77119 w 738131"/>
              <a:gd name="T5" fmla="*/ 187287 h 187287"/>
              <a:gd name="T6" fmla="*/ 0 w 738131"/>
              <a:gd name="T7" fmla="*/ 55085 h 187287"/>
              <a:gd name="T8" fmla="*/ 0 60000 65536"/>
              <a:gd name="T9" fmla="*/ 0 60000 65536"/>
              <a:gd name="T10" fmla="*/ 0 60000 65536"/>
              <a:gd name="T11" fmla="*/ 0 60000 65536"/>
              <a:gd name="T12" fmla="*/ 0 w 738131"/>
              <a:gd name="T13" fmla="*/ 0 h 187287"/>
              <a:gd name="T14" fmla="*/ 738131 w 738131"/>
              <a:gd name="T15" fmla="*/ 187287 h 187287"/>
            </a:gdLst>
            <a:ahLst/>
            <a:cxnLst>
              <a:cxn ang="T8">
                <a:pos x="T0" y="T1"/>
              </a:cxn>
              <a:cxn ang="T9">
                <a:pos x="T2" y="T3"/>
              </a:cxn>
              <a:cxn ang="T10">
                <a:pos x="T4" y="T5"/>
              </a:cxn>
              <a:cxn ang="T11">
                <a:pos x="T6" y="T7"/>
              </a:cxn>
            </a:cxnLst>
            <a:rect l="T12" t="T13" r="T14" b="T15"/>
            <a:pathLst>
              <a:path w="738131" h="187287">
                <a:moveTo>
                  <a:pt x="0" y="55085"/>
                </a:moveTo>
                <a:lnTo>
                  <a:pt x="738131" y="0"/>
                </a:lnTo>
                <a:lnTo>
                  <a:pt x="77119" y="187287"/>
                </a:lnTo>
                <a:lnTo>
                  <a:pt x="0" y="55085"/>
                </a:lnTo>
                <a:close/>
              </a:path>
            </a:pathLst>
          </a:custGeom>
          <a:solidFill>
            <a:srgbClr val="440C1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28" name="任意多边形 89"/>
          <p:cNvSpPr>
            <a:spLocks noChangeArrowheads="1"/>
          </p:cNvSpPr>
          <p:nvPr userDrawn="1"/>
        </p:nvSpPr>
        <p:spPr bwMode="auto">
          <a:xfrm>
            <a:off x="5205413" y="1768475"/>
            <a:ext cx="892175" cy="742950"/>
          </a:xfrm>
          <a:custGeom>
            <a:avLst/>
            <a:gdLst>
              <a:gd name="T0" fmla="*/ 1189822 w 1189822"/>
              <a:gd name="T1" fmla="*/ 0 h 991518"/>
              <a:gd name="T2" fmla="*/ 286439 w 1189822"/>
              <a:gd name="T3" fmla="*/ 991518 h 991518"/>
              <a:gd name="T4" fmla="*/ 0 w 1189822"/>
              <a:gd name="T5" fmla="*/ 220338 h 991518"/>
              <a:gd name="T6" fmla="*/ 1189822 w 1189822"/>
              <a:gd name="T7" fmla="*/ 0 h 991518"/>
              <a:gd name="T8" fmla="*/ 0 60000 65536"/>
              <a:gd name="T9" fmla="*/ 0 60000 65536"/>
              <a:gd name="T10" fmla="*/ 0 60000 65536"/>
              <a:gd name="T11" fmla="*/ 0 60000 65536"/>
              <a:gd name="T12" fmla="*/ 0 w 1189822"/>
              <a:gd name="T13" fmla="*/ 0 h 991518"/>
              <a:gd name="T14" fmla="*/ 1189822 w 1189822"/>
              <a:gd name="T15" fmla="*/ 991518 h 991518"/>
            </a:gdLst>
            <a:ahLst/>
            <a:cxnLst>
              <a:cxn ang="T8">
                <a:pos x="T0" y="T1"/>
              </a:cxn>
              <a:cxn ang="T9">
                <a:pos x="T2" y="T3"/>
              </a:cxn>
              <a:cxn ang="T10">
                <a:pos x="T4" y="T5"/>
              </a:cxn>
              <a:cxn ang="T11">
                <a:pos x="T6" y="T7"/>
              </a:cxn>
            </a:cxnLst>
            <a:rect l="T12" t="T13" r="T14" b="T15"/>
            <a:pathLst>
              <a:path w="1189822" h="991518">
                <a:moveTo>
                  <a:pt x="1189822" y="0"/>
                </a:moveTo>
                <a:lnTo>
                  <a:pt x="286439" y="991518"/>
                </a:lnTo>
                <a:lnTo>
                  <a:pt x="0" y="220338"/>
                </a:lnTo>
                <a:lnTo>
                  <a:pt x="1189822" y="0"/>
                </a:lnTo>
                <a:close/>
              </a:path>
            </a:pathLst>
          </a:custGeom>
          <a:solidFill>
            <a:srgbClr val="04A7C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29" name="任意多边形 85"/>
          <p:cNvSpPr>
            <a:spLocks noChangeArrowheads="1"/>
          </p:cNvSpPr>
          <p:nvPr userDrawn="1"/>
        </p:nvSpPr>
        <p:spPr bwMode="auto">
          <a:xfrm>
            <a:off x="4981575" y="1727200"/>
            <a:ext cx="257175" cy="381000"/>
          </a:xfrm>
          <a:custGeom>
            <a:avLst/>
            <a:gdLst>
              <a:gd name="T0" fmla="*/ 253388 w 319489"/>
              <a:gd name="T1" fmla="*/ 0 h 440674"/>
              <a:gd name="T2" fmla="*/ 319489 w 319489"/>
              <a:gd name="T3" fmla="*/ 308472 h 440674"/>
              <a:gd name="T4" fmla="*/ 0 w 319489"/>
              <a:gd name="T5" fmla="*/ 440674 h 440674"/>
              <a:gd name="T6" fmla="*/ 253388 w 319489"/>
              <a:gd name="T7" fmla="*/ 0 h 440674"/>
              <a:gd name="T8" fmla="*/ 0 60000 65536"/>
              <a:gd name="T9" fmla="*/ 0 60000 65536"/>
              <a:gd name="T10" fmla="*/ 0 60000 65536"/>
              <a:gd name="T11" fmla="*/ 0 60000 65536"/>
              <a:gd name="T12" fmla="*/ 0 w 319489"/>
              <a:gd name="T13" fmla="*/ 0 h 440674"/>
              <a:gd name="T14" fmla="*/ 319489 w 319489"/>
              <a:gd name="T15" fmla="*/ 440674 h 440674"/>
            </a:gdLst>
            <a:ahLst/>
            <a:cxnLst>
              <a:cxn ang="T8">
                <a:pos x="T0" y="T1"/>
              </a:cxn>
              <a:cxn ang="T9">
                <a:pos x="T2" y="T3"/>
              </a:cxn>
              <a:cxn ang="T10">
                <a:pos x="T4" y="T5"/>
              </a:cxn>
              <a:cxn ang="T11">
                <a:pos x="T6" y="T7"/>
              </a:cxn>
            </a:cxnLst>
            <a:rect l="T12" t="T13" r="T14" b="T15"/>
            <a:pathLst>
              <a:path w="319489" h="440674">
                <a:moveTo>
                  <a:pt x="253388" y="0"/>
                </a:moveTo>
                <a:lnTo>
                  <a:pt x="319489" y="308472"/>
                </a:lnTo>
                <a:lnTo>
                  <a:pt x="0" y="440674"/>
                </a:lnTo>
                <a:lnTo>
                  <a:pt x="253388" y="0"/>
                </a:lnTo>
                <a:close/>
              </a:path>
            </a:pathLst>
          </a:custGeom>
          <a:solidFill>
            <a:srgbClr val="178FA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30" name="任意多边形 96"/>
          <p:cNvSpPr>
            <a:spLocks noChangeArrowheads="1"/>
          </p:cNvSpPr>
          <p:nvPr userDrawn="1"/>
        </p:nvSpPr>
        <p:spPr bwMode="auto">
          <a:xfrm>
            <a:off x="5305425" y="280988"/>
            <a:ext cx="668338" cy="446087"/>
          </a:xfrm>
          <a:custGeom>
            <a:avLst/>
            <a:gdLst>
              <a:gd name="T0" fmla="*/ 0 w 804231"/>
              <a:gd name="T1" fmla="*/ 187286 h 561860"/>
              <a:gd name="T2" fmla="*/ 804231 w 804231"/>
              <a:gd name="T3" fmla="*/ 0 h 561860"/>
              <a:gd name="T4" fmla="*/ 220337 w 804231"/>
              <a:gd name="T5" fmla="*/ 561860 h 561860"/>
              <a:gd name="T6" fmla="*/ 0 w 804231"/>
              <a:gd name="T7" fmla="*/ 187286 h 561860"/>
              <a:gd name="T8" fmla="*/ 0 60000 65536"/>
              <a:gd name="T9" fmla="*/ 0 60000 65536"/>
              <a:gd name="T10" fmla="*/ 0 60000 65536"/>
              <a:gd name="T11" fmla="*/ 0 60000 65536"/>
              <a:gd name="T12" fmla="*/ 0 w 804231"/>
              <a:gd name="T13" fmla="*/ 0 h 561860"/>
              <a:gd name="T14" fmla="*/ 804231 w 804231"/>
              <a:gd name="T15" fmla="*/ 561860 h 561860"/>
            </a:gdLst>
            <a:ahLst/>
            <a:cxnLst>
              <a:cxn ang="T8">
                <a:pos x="T0" y="T1"/>
              </a:cxn>
              <a:cxn ang="T9">
                <a:pos x="T2" y="T3"/>
              </a:cxn>
              <a:cxn ang="T10">
                <a:pos x="T4" y="T5"/>
              </a:cxn>
              <a:cxn ang="T11">
                <a:pos x="T6" y="T7"/>
              </a:cxn>
            </a:cxnLst>
            <a:rect l="T12" t="T13" r="T14" b="T15"/>
            <a:pathLst>
              <a:path w="804231" h="561860">
                <a:moveTo>
                  <a:pt x="0" y="187286"/>
                </a:moveTo>
                <a:lnTo>
                  <a:pt x="804231" y="0"/>
                </a:lnTo>
                <a:lnTo>
                  <a:pt x="220337" y="561860"/>
                </a:lnTo>
                <a:lnTo>
                  <a:pt x="0" y="187286"/>
                </a:lnTo>
                <a:close/>
              </a:path>
            </a:pathLst>
          </a:custGeom>
          <a:solidFill>
            <a:srgbClr val="69C7C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31" name="任意多边形 67"/>
          <p:cNvSpPr>
            <a:spLocks noChangeArrowheads="1"/>
          </p:cNvSpPr>
          <p:nvPr userDrawn="1"/>
        </p:nvSpPr>
        <p:spPr bwMode="auto">
          <a:xfrm>
            <a:off x="4470400" y="2825750"/>
            <a:ext cx="157163" cy="98425"/>
          </a:xfrm>
          <a:custGeom>
            <a:avLst/>
            <a:gdLst>
              <a:gd name="T0" fmla="*/ 0 w 209321"/>
              <a:gd name="T1" fmla="*/ 88135 h 132202"/>
              <a:gd name="T2" fmla="*/ 209321 w 209321"/>
              <a:gd name="T3" fmla="*/ 132202 h 132202"/>
              <a:gd name="T4" fmla="*/ 132203 w 209321"/>
              <a:gd name="T5" fmla="*/ 0 h 132202"/>
              <a:gd name="T6" fmla="*/ 0 w 209321"/>
              <a:gd name="T7" fmla="*/ 88135 h 132202"/>
              <a:gd name="T8" fmla="*/ 0 60000 65536"/>
              <a:gd name="T9" fmla="*/ 0 60000 65536"/>
              <a:gd name="T10" fmla="*/ 0 60000 65536"/>
              <a:gd name="T11" fmla="*/ 0 60000 65536"/>
              <a:gd name="T12" fmla="*/ 0 w 209321"/>
              <a:gd name="T13" fmla="*/ 0 h 132202"/>
              <a:gd name="T14" fmla="*/ 209321 w 209321"/>
              <a:gd name="T15" fmla="*/ 132202 h 132202"/>
            </a:gdLst>
            <a:ahLst/>
            <a:cxnLst>
              <a:cxn ang="T8">
                <a:pos x="T0" y="T1"/>
              </a:cxn>
              <a:cxn ang="T9">
                <a:pos x="T2" y="T3"/>
              </a:cxn>
              <a:cxn ang="T10">
                <a:pos x="T4" y="T5"/>
              </a:cxn>
              <a:cxn ang="T11">
                <a:pos x="T6" y="T7"/>
              </a:cxn>
            </a:cxnLst>
            <a:rect l="T12" t="T13" r="T14" b="T15"/>
            <a:pathLst>
              <a:path w="209321" h="132202">
                <a:moveTo>
                  <a:pt x="0" y="88135"/>
                </a:moveTo>
                <a:lnTo>
                  <a:pt x="209321" y="132202"/>
                </a:lnTo>
                <a:lnTo>
                  <a:pt x="132203" y="0"/>
                </a:lnTo>
                <a:lnTo>
                  <a:pt x="0" y="88135"/>
                </a:lnTo>
                <a:close/>
              </a:path>
            </a:pathLst>
          </a:custGeom>
          <a:solidFill>
            <a:srgbClr val="1076A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32" name="任意多边形 70"/>
          <p:cNvSpPr>
            <a:spLocks noChangeArrowheads="1"/>
          </p:cNvSpPr>
          <p:nvPr userDrawn="1"/>
        </p:nvSpPr>
        <p:spPr bwMode="auto">
          <a:xfrm>
            <a:off x="5419725" y="2717800"/>
            <a:ext cx="198438" cy="74613"/>
          </a:xfrm>
          <a:custGeom>
            <a:avLst/>
            <a:gdLst>
              <a:gd name="T0" fmla="*/ 88135 w 253388"/>
              <a:gd name="T1" fmla="*/ 0 h 110168"/>
              <a:gd name="T2" fmla="*/ 0 w 253388"/>
              <a:gd name="T3" fmla="*/ 99151 h 110168"/>
              <a:gd name="T4" fmla="*/ 253388 w 253388"/>
              <a:gd name="T5" fmla="*/ 110168 h 110168"/>
              <a:gd name="T6" fmla="*/ 88135 w 253388"/>
              <a:gd name="T7" fmla="*/ 0 h 110168"/>
              <a:gd name="T8" fmla="*/ 0 60000 65536"/>
              <a:gd name="T9" fmla="*/ 0 60000 65536"/>
              <a:gd name="T10" fmla="*/ 0 60000 65536"/>
              <a:gd name="T11" fmla="*/ 0 60000 65536"/>
              <a:gd name="T12" fmla="*/ 0 w 253388"/>
              <a:gd name="T13" fmla="*/ 0 h 110168"/>
              <a:gd name="T14" fmla="*/ 253388 w 253388"/>
              <a:gd name="T15" fmla="*/ 110168 h 110168"/>
            </a:gdLst>
            <a:ahLst/>
            <a:cxnLst>
              <a:cxn ang="T8">
                <a:pos x="T0" y="T1"/>
              </a:cxn>
              <a:cxn ang="T9">
                <a:pos x="T2" y="T3"/>
              </a:cxn>
              <a:cxn ang="T10">
                <a:pos x="T4" y="T5"/>
              </a:cxn>
              <a:cxn ang="T11">
                <a:pos x="T6" y="T7"/>
              </a:cxn>
            </a:cxnLst>
            <a:rect l="T12" t="T13" r="T14" b="T15"/>
            <a:pathLst>
              <a:path w="253388" h="110168">
                <a:moveTo>
                  <a:pt x="88135" y="0"/>
                </a:moveTo>
                <a:lnTo>
                  <a:pt x="0" y="99151"/>
                </a:lnTo>
                <a:lnTo>
                  <a:pt x="253388" y="110168"/>
                </a:lnTo>
                <a:lnTo>
                  <a:pt x="88135" y="0"/>
                </a:lnTo>
                <a:close/>
              </a:path>
            </a:pathLst>
          </a:custGeom>
          <a:solidFill>
            <a:srgbClr val="125D6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33" name="任意多边形 75"/>
          <p:cNvSpPr>
            <a:spLocks noChangeArrowheads="1"/>
          </p:cNvSpPr>
          <p:nvPr userDrawn="1"/>
        </p:nvSpPr>
        <p:spPr bwMode="auto">
          <a:xfrm>
            <a:off x="4114800" y="1139825"/>
            <a:ext cx="355600" cy="538163"/>
          </a:xfrm>
          <a:custGeom>
            <a:avLst/>
            <a:gdLst>
              <a:gd name="T0" fmla="*/ 33050 w 429658"/>
              <a:gd name="T1" fmla="*/ 0 h 705079"/>
              <a:gd name="T2" fmla="*/ 429658 w 429658"/>
              <a:gd name="T3" fmla="*/ 605928 h 705079"/>
              <a:gd name="T4" fmla="*/ 0 w 429658"/>
              <a:gd name="T5" fmla="*/ 705079 h 705079"/>
              <a:gd name="T6" fmla="*/ 33050 w 429658"/>
              <a:gd name="T7" fmla="*/ 0 h 705079"/>
              <a:gd name="T8" fmla="*/ 0 60000 65536"/>
              <a:gd name="T9" fmla="*/ 0 60000 65536"/>
              <a:gd name="T10" fmla="*/ 0 60000 65536"/>
              <a:gd name="T11" fmla="*/ 0 60000 65536"/>
              <a:gd name="T12" fmla="*/ 0 w 429658"/>
              <a:gd name="T13" fmla="*/ 0 h 705079"/>
              <a:gd name="T14" fmla="*/ 429658 w 429658"/>
              <a:gd name="T15" fmla="*/ 705079 h 705079"/>
            </a:gdLst>
            <a:ahLst/>
            <a:cxnLst>
              <a:cxn ang="T8">
                <a:pos x="T0" y="T1"/>
              </a:cxn>
              <a:cxn ang="T9">
                <a:pos x="T2" y="T3"/>
              </a:cxn>
              <a:cxn ang="T10">
                <a:pos x="T4" y="T5"/>
              </a:cxn>
              <a:cxn ang="T11">
                <a:pos x="T6" y="T7"/>
              </a:cxn>
            </a:cxnLst>
            <a:rect l="T12" t="T13" r="T14" b="T15"/>
            <a:pathLst>
              <a:path w="429658" h="705079">
                <a:moveTo>
                  <a:pt x="33050" y="0"/>
                </a:moveTo>
                <a:lnTo>
                  <a:pt x="429658" y="605928"/>
                </a:lnTo>
                <a:lnTo>
                  <a:pt x="0" y="705079"/>
                </a:lnTo>
                <a:lnTo>
                  <a:pt x="33050" y="0"/>
                </a:lnTo>
                <a:close/>
              </a:path>
            </a:pathLst>
          </a:custGeom>
          <a:solidFill>
            <a:srgbClr val="57C8E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34" name="任意多边形 76"/>
          <p:cNvSpPr>
            <a:spLocks noChangeArrowheads="1"/>
          </p:cNvSpPr>
          <p:nvPr userDrawn="1"/>
        </p:nvSpPr>
        <p:spPr bwMode="auto">
          <a:xfrm>
            <a:off x="4148138" y="1149350"/>
            <a:ext cx="471487" cy="479425"/>
          </a:xfrm>
          <a:custGeom>
            <a:avLst/>
            <a:gdLst>
              <a:gd name="T0" fmla="*/ 0 w 528810"/>
              <a:gd name="T1" fmla="*/ 0 h 572877"/>
              <a:gd name="T2" fmla="*/ 528810 w 528810"/>
              <a:gd name="T3" fmla="*/ 253388 h 572877"/>
              <a:gd name="T4" fmla="*/ 352540 w 528810"/>
              <a:gd name="T5" fmla="*/ 572877 h 572877"/>
              <a:gd name="T6" fmla="*/ 0 w 528810"/>
              <a:gd name="T7" fmla="*/ 0 h 572877"/>
              <a:gd name="T8" fmla="*/ 0 60000 65536"/>
              <a:gd name="T9" fmla="*/ 0 60000 65536"/>
              <a:gd name="T10" fmla="*/ 0 60000 65536"/>
              <a:gd name="T11" fmla="*/ 0 60000 65536"/>
              <a:gd name="T12" fmla="*/ 0 w 528810"/>
              <a:gd name="T13" fmla="*/ 0 h 572877"/>
              <a:gd name="T14" fmla="*/ 528810 w 528810"/>
              <a:gd name="T15" fmla="*/ 572877 h 572877"/>
            </a:gdLst>
            <a:ahLst/>
            <a:cxnLst>
              <a:cxn ang="T8">
                <a:pos x="T0" y="T1"/>
              </a:cxn>
              <a:cxn ang="T9">
                <a:pos x="T2" y="T3"/>
              </a:cxn>
              <a:cxn ang="T10">
                <a:pos x="T4" y="T5"/>
              </a:cxn>
              <a:cxn ang="T11">
                <a:pos x="T6" y="T7"/>
              </a:cxn>
            </a:cxnLst>
            <a:rect l="T12" t="T13" r="T14" b="T15"/>
            <a:pathLst>
              <a:path w="528810" h="572877">
                <a:moveTo>
                  <a:pt x="0" y="0"/>
                </a:moveTo>
                <a:lnTo>
                  <a:pt x="528810" y="253388"/>
                </a:lnTo>
                <a:lnTo>
                  <a:pt x="352540" y="572877"/>
                </a:lnTo>
                <a:lnTo>
                  <a:pt x="0" y="0"/>
                </a:lnTo>
                <a:close/>
              </a:path>
            </a:pathLst>
          </a:custGeom>
          <a:solidFill>
            <a:srgbClr val="1BA8B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35" name="任意多边形 46"/>
          <p:cNvSpPr>
            <a:spLocks noChangeArrowheads="1"/>
          </p:cNvSpPr>
          <p:nvPr userDrawn="1"/>
        </p:nvSpPr>
        <p:spPr bwMode="auto">
          <a:xfrm>
            <a:off x="3114675" y="1668463"/>
            <a:ext cx="1100138" cy="314325"/>
          </a:xfrm>
          <a:custGeom>
            <a:avLst/>
            <a:gdLst>
              <a:gd name="T0" fmla="*/ 77118 w 1355075"/>
              <a:gd name="T1" fmla="*/ 11017 h 396607"/>
              <a:gd name="T2" fmla="*/ 22034 w 1355075"/>
              <a:gd name="T3" fmla="*/ 11017 h 396607"/>
              <a:gd name="T4" fmla="*/ 0 w 1355075"/>
              <a:gd name="T5" fmla="*/ 396607 h 396607"/>
              <a:gd name="T6" fmla="*/ 1355075 w 1355075"/>
              <a:gd name="T7" fmla="*/ 0 h 396607"/>
              <a:gd name="T8" fmla="*/ 77118 w 1355075"/>
              <a:gd name="T9" fmla="*/ 11017 h 396607"/>
              <a:gd name="T10" fmla="*/ 0 60000 65536"/>
              <a:gd name="T11" fmla="*/ 0 60000 65536"/>
              <a:gd name="T12" fmla="*/ 0 60000 65536"/>
              <a:gd name="T13" fmla="*/ 0 60000 65536"/>
              <a:gd name="T14" fmla="*/ 0 60000 65536"/>
              <a:gd name="T15" fmla="*/ 0 w 1355075"/>
              <a:gd name="T16" fmla="*/ 0 h 396607"/>
              <a:gd name="T17" fmla="*/ 1355075 w 1355075"/>
              <a:gd name="T18" fmla="*/ 396607 h 396607"/>
            </a:gdLst>
            <a:ahLst/>
            <a:cxnLst>
              <a:cxn ang="T10">
                <a:pos x="T0" y="T1"/>
              </a:cxn>
              <a:cxn ang="T11">
                <a:pos x="T2" y="T3"/>
              </a:cxn>
              <a:cxn ang="T12">
                <a:pos x="T4" y="T5"/>
              </a:cxn>
              <a:cxn ang="T13">
                <a:pos x="T6" y="T7"/>
              </a:cxn>
              <a:cxn ang="T14">
                <a:pos x="T8" y="T9"/>
              </a:cxn>
            </a:cxnLst>
            <a:rect l="T15" t="T16" r="T17" b="T18"/>
            <a:pathLst>
              <a:path w="1355075" h="396607">
                <a:moveTo>
                  <a:pt x="77118" y="11017"/>
                </a:moveTo>
                <a:lnTo>
                  <a:pt x="22034" y="11017"/>
                </a:lnTo>
                <a:lnTo>
                  <a:pt x="0" y="396607"/>
                </a:lnTo>
                <a:lnTo>
                  <a:pt x="1355075" y="0"/>
                </a:lnTo>
                <a:lnTo>
                  <a:pt x="77118" y="11017"/>
                </a:lnTo>
                <a:close/>
              </a:path>
            </a:pathLst>
          </a:custGeom>
          <a:solidFill>
            <a:srgbClr val="BF223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36" name="任意多边形 28"/>
          <p:cNvSpPr>
            <a:spLocks noChangeArrowheads="1"/>
          </p:cNvSpPr>
          <p:nvPr userDrawn="1"/>
        </p:nvSpPr>
        <p:spPr bwMode="auto">
          <a:xfrm>
            <a:off x="1206500" y="1917700"/>
            <a:ext cx="644525" cy="735013"/>
          </a:xfrm>
          <a:custGeom>
            <a:avLst/>
            <a:gdLst>
              <a:gd name="T0" fmla="*/ 859315 w 859315"/>
              <a:gd name="T1" fmla="*/ 0 h 980502"/>
              <a:gd name="T2" fmla="*/ 484742 w 859315"/>
              <a:gd name="T3" fmla="*/ 859316 h 980502"/>
              <a:gd name="T4" fmla="*/ 0 w 859315"/>
              <a:gd name="T5" fmla="*/ 980502 h 980502"/>
              <a:gd name="T6" fmla="*/ 859315 w 859315"/>
              <a:gd name="T7" fmla="*/ 0 h 980502"/>
              <a:gd name="T8" fmla="*/ 0 60000 65536"/>
              <a:gd name="T9" fmla="*/ 0 60000 65536"/>
              <a:gd name="T10" fmla="*/ 0 60000 65536"/>
              <a:gd name="T11" fmla="*/ 0 60000 65536"/>
              <a:gd name="T12" fmla="*/ 0 w 859315"/>
              <a:gd name="T13" fmla="*/ 0 h 980502"/>
              <a:gd name="T14" fmla="*/ 859315 w 859315"/>
              <a:gd name="T15" fmla="*/ 980502 h 980502"/>
            </a:gdLst>
            <a:ahLst/>
            <a:cxnLst>
              <a:cxn ang="T8">
                <a:pos x="T0" y="T1"/>
              </a:cxn>
              <a:cxn ang="T9">
                <a:pos x="T2" y="T3"/>
              </a:cxn>
              <a:cxn ang="T10">
                <a:pos x="T4" y="T5"/>
              </a:cxn>
              <a:cxn ang="T11">
                <a:pos x="T6" y="T7"/>
              </a:cxn>
            </a:cxnLst>
            <a:rect l="T12" t="T13" r="T14" b="T15"/>
            <a:pathLst>
              <a:path w="859315" h="980502">
                <a:moveTo>
                  <a:pt x="859315" y="0"/>
                </a:moveTo>
                <a:lnTo>
                  <a:pt x="484742" y="859316"/>
                </a:lnTo>
                <a:lnTo>
                  <a:pt x="0" y="980502"/>
                </a:lnTo>
                <a:lnTo>
                  <a:pt x="859315" y="0"/>
                </a:lnTo>
                <a:close/>
              </a:path>
            </a:pathLst>
          </a:custGeom>
          <a:solidFill>
            <a:srgbClr val="EF5B2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37" name="任意多边形 20"/>
          <p:cNvSpPr>
            <a:spLocks noChangeArrowheads="1"/>
          </p:cNvSpPr>
          <p:nvPr userDrawn="1"/>
        </p:nvSpPr>
        <p:spPr bwMode="auto">
          <a:xfrm>
            <a:off x="1851025" y="2395538"/>
            <a:ext cx="471488" cy="265112"/>
          </a:xfrm>
          <a:custGeom>
            <a:avLst/>
            <a:gdLst>
              <a:gd name="T0" fmla="*/ 11017 w 550844"/>
              <a:gd name="T1" fmla="*/ 0 h 341523"/>
              <a:gd name="T2" fmla="*/ 550844 w 550844"/>
              <a:gd name="T3" fmla="*/ 286438 h 341523"/>
              <a:gd name="T4" fmla="*/ 0 w 550844"/>
              <a:gd name="T5" fmla="*/ 341523 h 341523"/>
              <a:gd name="T6" fmla="*/ 11017 w 550844"/>
              <a:gd name="T7" fmla="*/ 0 h 341523"/>
              <a:gd name="T8" fmla="*/ 0 60000 65536"/>
              <a:gd name="T9" fmla="*/ 0 60000 65536"/>
              <a:gd name="T10" fmla="*/ 0 60000 65536"/>
              <a:gd name="T11" fmla="*/ 0 60000 65536"/>
              <a:gd name="T12" fmla="*/ 0 w 550844"/>
              <a:gd name="T13" fmla="*/ 0 h 341523"/>
              <a:gd name="T14" fmla="*/ 550844 w 550844"/>
              <a:gd name="T15" fmla="*/ 341523 h 341523"/>
            </a:gdLst>
            <a:ahLst/>
            <a:cxnLst>
              <a:cxn ang="T8">
                <a:pos x="T0" y="T1"/>
              </a:cxn>
              <a:cxn ang="T9">
                <a:pos x="T2" y="T3"/>
              </a:cxn>
              <a:cxn ang="T10">
                <a:pos x="T4" y="T5"/>
              </a:cxn>
              <a:cxn ang="T11">
                <a:pos x="T6" y="T7"/>
              </a:cxn>
            </a:cxnLst>
            <a:rect l="T12" t="T13" r="T14" b="T15"/>
            <a:pathLst>
              <a:path w="550844" h="341523">
                <a:moveTo>
                  <a:pt x="11017" y="0"/>
                </a:moveTo>
                <a:lnTo>
                  <a:pt x="550844" y="286438"/>
                </a:lnTo>
                <a:lnTo>
                  <a:pt x="0" y="341523"/>
                </a:lnTo>
                <a:lnTo>
                  <a:pt x="11017" y="0"/>
                </a:lnTo>
                <a:close/>
              </a:path>
            </a:pathLst>
          </a:custGeom>
          <a:solidFill>
            <a:srgbClr val="211F2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38" name="任意多边形 35"/>
          <p:cNvSpPr>
            <a:spLocks noChangeArrowheads="1"/>
          </p:cNvSpPr>
          <p:nvPr userDrawn="1"/>
        </p:nvSpPr>
        <p:spPr bwMode="auto">
          <a:xfrm>
            <a:off x="1817688" y="2238375"/>
            <a:ext cx="463550" cy="365125"/>
          </a:xfrm>
          <a:custGeom>
            <a:avLst/>
            <a:gdLst>
              <a:gd name="T0" fmla="*/ 528809 w 550843"/>
              <a:gd name="T1" fmla="*/ 0 h 451691"/>
              <a:gd name="T2" fmla="*/ 0 w 550843"/>
              <a:gd name="T3" fmla="*/ 209320 h 451691"/>
              <a:gd name="T4" fmla="*/ 550843 w 550843"/>
              <a:gd name="T5" fmla="*/ 451691 h 451691"/>
              <a:gd name="T6" fmla="*/ 528809 w 550843"/>
              <a:gd name="T7" fmla="*/ 0 h 451691"/>
              <a:gd name="T8" fmla="*/ 0 60000 65536"/>
              <a:gd name="T9" fmla="*/ 0 60000 65536"/>
              <a:gd name="T10" fmla="*/ 0 60000 65536"/>
              <a:gd name="T11" fmla="*/ 0 60000 65536"/>
              <a:gd name="T12" fmla="*/ 0 w 550843"/>
              <a:gd name="T13" fmla="*/ 0 h 451691"/>
              <a:gd name="T14" fmla="*/ 550843 w 550843"/>
              <a:gd name="T15" fmla="*/ 451691 h 451691"/>
            </a:gdLst>
            <a:ahLst/>
            <a:cxnLst>
              <a:cxn ang="T8">
                <a:pos x="T0" y="T1"/>
              </a:cxn>
              <a:cxn ang="T9">
                <a:pos x="T2" y="T3"/>
              </a:cxn>
              <a:cxn ang="T10">
                <a:pos x="T4" y="T5"/>
              </a:cxn>
              <a:cxn ang="T11">
                <a:pos x="T6" y="T7"/>
              </a:cxn>
            </a:cxnLst>
            <a:rect l="T12" t="T13" r="T14" b="T15"/>
            <a:pathLst>
              <a:path w="550843" h="451691">
                <a:moveTo>
                  <a:pt x="528809" y="0"/>
                </a:moveTo>
                <a:lnTo>
                  <a:pt x="0" y="209320"/>
                </a:lnTo>
                <a:lnTo>
                  <a:pt x="550843" y="451691"/>
                </a:lnTo>
                <a:lnTo>
                  <a:pt x="528809" y="0"/>
                </a:lnTo>
                <a:close/>
              </a:path>
            </a:pathLst>
          </a:custGeom>
          <a:solidFill>
            <a:srgbClr val="E5233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39" name="任意多边形 26"/>
          <p:cNvSpPr>
            <a:spLocks noChangeArrowheads="1"/>
          </p:cNvSpPr>
          <p:nvPr userDrawn="1"/>
        </p:nvSpPr>
        <p:spPr bwMode="auto">
          <a:xfrm>
            <a:off x="1173163" y="1876425"/>
            <a:ext cx="752475" cy="511175"/>
          </a:xfrm>
          <a:custGeom>
            <a:avLst/>
            <a:gdLst>
              <a:gd name="T0" fmla="*/ 936434 w 936434"/>
              <a:gd name="T1" fmla="*/ 0 h 672029"/>
              <a:gd name="T2" fmla="*/ 341523 w 936434"/>
              <a:gd name="T3" fmla="*/ 672029 h 672029"/>
              <a:gd name="T4" fmla="*/ 0 w 936434"/>
              <a:gd name="T5" fmla="*/ 429658 h 672029"/>
              <a:gd name="T6" fmla="*/ 936434 w 936434"/>
              <a:gd name="T7" fmla="*/ 0 h 672029"/>
              <a:gd name="T8" fmla="*/ 0 60000 65536"/>
              <a:gd name="T9" fmla="*/ 0 60000 65536"/>
              <a:gd name="T10" fmla="*/ 0 60000 65536"/>
              <a:gd name="T11" fmla="*/ 0 60000 65536"/>
              <a:gd name="T12" fmla="*/ 0 w 936434"/>
              <a:gd name="T13" fmla="*/ 0 h 672029"/>
              <a:gd name="T14" fmla="*/ 936434 w 936434"/>
              <a:gd name="T15" fmla="*/ 672029 h 672029"/>
            </a:gdLst>
            <a:ahLst/>
            <a:cxnLst>
              <a:cxn ang="T8">
                <a:pos x="T0" y="T1"/>
              </a:cxn>
              <a:cxn ang="T9">
                <a:pos x="T2" y="T3"/>
              </a:cxn>
              <a:cxn ang="T10">
                <a:pos x="T4" y="T5"/>
              </a:cxn>
              <a:cxn ang="T11">
                <a:pos x="T6" y="T7"/>
              </a:cxn>
            </a:cxnLst>
            <a:rect l="T12" t="T13" r="T14" b="T15"/>
            <a:pathLst>
              <a:path w="936434" h="672029">
                <a:moveTo>
                  <a:pt x="936434" y="0"/>
                </a:moveTo>
                <a:lnTo>
                  <a:pt x="341523" y="672029"/>
                </a:lnTo>
                <a:lnTo>
                  <a:pt x="0" y="429658"/>
                </a:lnTo>
                <a:lnTo>
                  <a:pt x="936434" y="0"/>
                </a:lnTo>
                <a:close/>
              </a:path>
            </a:pathLst>
          </a:custGeom>
          <a:solidFill>
            <a:srgbClr val="EA254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40" name="任意多边形 12"/>
          <p:cNvSpPr>
            <a:spLocks noChangeArrowheads="1"/>
          </p:cNvSpPr>
          <p:nvPr userDrawn="1"/>
        </p:nvSpPr>
        <p:spPr bwMode="auto">
          <a:xfrm>
            <a:off x="569913" y="2312988"/>
            <a:ext cx="817562" cy="538162"/>
          </a:xfrm>
          <a:custGeom>
            <a:avLst/>
            <a:gdLst>
              <a:gd name="T0" fmla="*/ 385591 w 1002535"/>
              <a:gd name="T1" fmla="*/ 0 h 694062"/>
              <a:gd name="T2" fmla="*/ 1002535 w 1002535"/>
              <a:gd name="T3" fmla="*/ 616944 h 694062"/>
              <a:gd name="T4" fmla="*/ 0 w 1002535"/>
              <a:gd name="T5" fmla="*/ 694062 h 694062"/>
              <a:gd name="T6" fmla="*/ 385591 w 1002535"/>
              <a:gd name="T7" fmla="*/ 0 h 694062"/>
              <a:gd name="T8" fmla="*/ 0 60000 65536"/>
              <a:gd name="T9" fmla="*/ 0 60000 65536"/>
              <a:gd name="T10" fmla="*/ 0 60000 65536"/>
              <a:gd name="T11" fmla="*/ 0 60000 65536"/>
              <a:gd name="T12" fmla="*/ 0 w 1002535"/>
              <a:gd name="T13" fmla="*/ 0 h 694062"/>
              <a:gd name="T14" fmla="*/ 1002535 w 1002535"/>
              <a:gd name="T15" fmla="*/ 694062 h 694062"/>
            </a:gdLst>
            <a:ahLst/>
            <a:cxnLst>
              <a:cxn ang="T8">
                <a:pos x="T0" y="T1"/>
              </a:cxn>
              <a:cxn ang="T9">
                <a:pos x="T2" y="T3"/>
              </a:cxn>
              <a:cxn ang="T10">
                <a:pos x="T4" y="T5"/>
              </a:cxn>
              <a:cxn ang="T11">
                <a:pos x="T6" y="T7"/>
              </a:cxn>
            </a:cxnLst>
            <a:rect l="T12" t="T13" r="T14" b="T15"/>
            <a:pathLst>
              <a:path w="1002535" h="694062">
                <a:moveTo>
                  <a:pt x="385591" y="0"/>
                </a:moveTo>
                <a:lnTo>
                  <a:pt x="1002535" y="616944"/>
                </a:lnTo>
                <a:lnTo>
                  <a:pt x="0" y="694062"/>
                </a:lnTo>
                <a:lnTo>
                  <a:pt x="385591" y="0"/>
                </a:lnTo>
                <a:close/>
              </a:path>
            </a:pathLst>
          </a:custGeom>
          <a:solidFill>
            <a:srgbClr val="A11D2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41" name="任意多边形 66"/>
          <p:cNvSpPr>
            <a:spLocks noChangeArrowheads="1"/>
          </p:cNvSpPr>
          <p:nvPr userDrawn="1"/>
        </p:nvSpPr>
        <p:spPr bwMode="auto">
          <a:xfrm>
            <a:off x="4140200" y="2841625"/>
            <a:ext cx="404813" cy="280988"/>
          </a:xfrm>
          <a:custGeom>
            <a:avLst/>
            <a:gdLst>
              <a:gd name="T0" fmla="*/ 0 w 539827"/>
              <a:gd name="T1" fmla="*/ 374574 h 374574"/>
              <a:gd name="T2" fmla="*/ 539827 w 539827"/>
              <a:gd name="T3" fmla="*/ 11017 h 374574"/>
              <a:gd name="T4" fmla="*/ 275422 w 539827"/>
              <a:gd name="T5" fmla="*/ 0 h 374574"/>
              <a:gd name="T6" fmla="*/ 0 w 539827"/>
              <a:gd name="T7" fmla="*/ 374574 h 374574"/>
              <a:gd name="T8" fmla="*/ 0 60000 65536"/>
              <a:gd name="T9" fmla="*/ 0 60000 65536"/>
              <a:gd name="T10" fmla="*/ 0 60000 65536"/>
              <a:gd name="T11" fmla="*/ 0 60000 65536"/>
              <a:gd name="T12" fmla="*/ 0 w 539827"/>
              <a:gd name="T13" fmla="*/ 0 h 374574"/>
              <a:gd name="T14" fmla="*/ 539827 w 539827"/>
              <a:gd name="T15" fmla="*/ 374574 h 374574"/>
            </a:gdLst>
            <a:ahLst/>
            <a:cxnLst>
              <a:cxn ang="T8">
                <a:pos x="T0" y="T1"/>
              </a:cxn>
              <a:cxn ang="T9">
                <a:pos x="T2" y="T3"/>
              </a:cxn>
              <a:cxn ang="T10">
                <a:pos x="T4" y="T5"/>
              </a:cxn>
              <a:cxn ang="T11">
                <a:pos x="T6" y="T7"/>
              </a:cxn>
            </a:cxnLst>
            <a:rect l="T12" t="T13" r="T14" b="T15"/>
            <a:pathLst>
              <a:path w="539827" h="374574">
                <a:moveTo>
                  <a:pt x="0" y="374574"/>
                </a:moveTo>
                <a:lnTo>
                  <a:pt x="539827" y="11017"/>
                </a:lnTo>
                <a:lnTo>
                  <a:pt x="275422" y="0"/>
                </a:lnTo>
                <a:lnTo>
                  <a:pt x="0" y="374574"/>
                </a:lnTo>
                <a:close/>
              </a:path>
            </a:pathLst>
          </a:custGeom>
          <a:solidFill>
            <a:srgbClr val="10578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42" name="任意多边形 16"/>
          <p:cNvSpPr>
            <a:spLocks noChangeArrowheads="1"/>
          </p:cNvSpPr>
          <p:nvPr userDrawn="1"/>
        </p:nvSpPr>
        <p:spPr bwMode="auto">
          <a:xfrm>
            <a:off x="-158750" y="3544888"/>
            <a:ext cx="809625" cy="512762"/>
          </a:xfrm>
          <a:custGeom>
            <a:avLst/>
            <a:gdLst>
              <a:gd name="T0" fmla="*/ 528809 w 1079653"/>
              <a:gd name="T1" fmla="*/ 110168 h 683046"/>
              <a:gd name="T2" fmla="*/ 1079653 w 1079653"/>
              <a:gd name="T3" fmla="*/ 683046 h 683046"/>
              <a:gd name="T4" fmla="*/ 0 w 1079653"/>
              <a:gd name="T5" fmla="*/ 341523 h 683046"/>
              <a:gd name="T6" fmla="*/ 330506 w 1079653"/>
              <a:gd name="T7" fmla="*/ 0 h 683046"/>
              <a:gd name="T8" fmla="*/ 528809 w 1079653"/>
              <a:gd name="T9" fmla="*/ 110168 h 683046"/>
              <a:gd name="T10" fmla="*/ 0 60000 65536"/>
              <a:gd name="T11" fmla="*/ 0 60000 65536"/>
              <a:gd name="T12" fmla="*/ 0 60000 65536"/>
              <a:gd name="T13" fmla="*/ 0 60000 65536"/>
              <a:gd name="T14" fmla="*/ 0 60000 65536"/>
              <a:gd name="T15" fmla="*/ 0 w 1079653"/>
              <a:gd name="T16" fmla="*/ 0 h 683046"/>
              <a:gd name="T17" fmla="*/ 1079653 w 1079653"/>
              <a:gd name="T18" fmla="*/ 683046 h 683046"/>
            </a:gdLst>
            <a:ahLst/>
            <a:cxnLst>
              <a:cxn ang="T10">
                <a:pos x="T0" y="T1"/>
              </a:cxn>
              <a:cxn ang="T11">
                <a:pos x="T2" y="T3"/>
              </a:cxn>
              <a:cxn ang="T12">
                <a:pos x="T4" y="T5"/>
              </a:cxn>
              <a:cxn ang="T13">
                <a:pos x="T6" y="T7"/>
              </a:cxn>
              <a:cxn ang="T14">
                <a:pos x="T8" y="T9"/>
              </a:cxn>
            </a:cxnLst>
            <a:rect l="T15" t="T16" r="T17" b="T18"/>
            <a:pathLst>
              <a:path w="1079653" h="683046">
                <a:moveTo>
                  <a:pt x="528809" y="110168"/>
                </a:moveTo>
                <a:lnTo>
                  <a:pt x="1079653" y="683046"/>
                </a:lnTo>
                <a:lnTo>
                  <a:pt x="0" y="341523"/>
                </a:lnTo>
                <a:lnTo>
                  <a:pt x="330506" y="0"/>
                </a:lnTo>
                <a:lnTo>
                  <a:pt x="528809" y="110168"/>
                </a:lnTo>
                <a:close/>
              </a:path>
            </a:pathLst>
          </a:custGeom>
          <a:solidFill>
            <a:srgbClr val="C121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43" name="任意多边形 106"/>
          <p:cNvSpPr>
            <a:spLocks noChangeArrowheads="1"/>
          </p:cNvSpPr>
          <p:nvPr userDrawn="1"/>
        </p:nvSpPr>
        <p:spPr bwMode="auto">
          <a:xfrm>
            <a:off x="5635625" y="1446213"/>
            <a:ext cx="346075" cy="355600"/>
          </a:xfrm>
          <a:custGeom>
            <a:avLst/>
            <a:gdLst>
              <a:gd name="T0" fmla="*/ 55085 w 462709"/>
              <a:gd name="T1" fmla="*/ 220337 h 473725"/>
              <a:gd name="T2" fmla="*/ 0 w 462709"/>
              <a:gd name="T3" fmla="*/ 220337 h 473725"/>
              <a:gd name="T4" fmla="*/ 352540 w 462709"/>
              <a:gd name="T5" fmla="*/ 473725 h 473725"/>
              <a:gd name="T6" fmla="*/ 462709 w 462709"/>
              <a:gd name="T7" fmla="*/ 0 h 473725"/>
              <a:gd name="T8" fmla="*/ 55085 w 462709"/>
              <a:gd name="T9" fmla="*/ 220337 h 473725"/>
              <a:gd name="T10" fmla="*/ 0 60000 65536"/>
              <a:gd name="T11" fmla="*/ 0 60000 65536"/>
              <a:gd name="T12" fmla="*/ 0 60000 65536"/>
              <a:gd name="T13" fmla="*/ 0 60000 65536"/>
              <a:gd name="T14" fmla="*/ 0 60000 65536"/>
              <a:gd name="T15" fmla="*/ 0 w 462709"/>
              <a:gd name="T16" fmla="*/ 0 h 473725"/>
              <a:gd name="T17" fmla="*/ 462709 w 462709"/>
              <a:gd name="T18" fmla="*/ 473725 h 473725"/>
            </a:gdLst>
            <a:ahLst/>
            <a:cxnLst>
              <a:cxn ang="T10">
                <a:pos x="T0" y="T1"/>
              </a:cxn>
              <a:cxn ang="T11">
                <a:pos x="T2" y="T3"/>
              </a:cxn>
              <a:cxn ang="T12">
                <a:pos x="T4" y="T5"/>
              </a:cxn>
              <a:cxn ang="T13">
                <a:pos x="T6" y="T7"/>
              </a:cxn>
              <a:cxn ang="T14">
                <a:pos x="T8" y="T9"/>
              </a:cxn>
            </a:cxnLst>
            <a:rect l="T15" t="T16" r="T17" b="T18"/>
            <a:pathLst>
              <a:path w="462709" h="473725">
                <a:moveTo>
                  <a:pt x="55085" y="220337"/>
                </a:moveTo>
                <a:lnTo>
                  <a:pt x="0" y="220337"/>
                </a:lnTo>
                <a:lnTo>
                  <a:pt x="352540" y="473725"/>
                </a:lnTo>
                <a:lnTo>
                  <a:pt x="462709" y="0"/>
                </a:lnTo>
                <a:lnTo>
                  <a:pt x="55085" y="220337"/>
                </a:lnTo>
                <a:close/>
              </a:path>
            </a:pathLst>
          </a:custGeom>
          <a:solidFill>
            <a:srgbClr val="1791A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44" name="任意多边形 81"/>
          <p:cNvSpPr>
            <a:spLocks noChangeArrowheads="1"/>
          </p:cNvSpPr>
          <p:nvPr userDrawn="1"/>
        </p:nvSpPr>
        <p:spPr bwMode="auto">
          <a:xfrm>
            <a:off x="4619625" y="1371600"/>
            <a:ext cx="817563" cy="404813"/>
          </a:xfrm>
          <a:custGeom>
            <a:avLst/>
            <a:gdLst>
              <a:gd name="T0" fmla="*/ 0 w 1090670"/>
              <a:gd name="T1" fmla="*/ 528810 h 539827"/>
              <a:gd name="T2" fmla="*/ 1090670 w 1090670"/>
              <a:gd name="T3" fmla="*/ 539827 h 539827"/>
              <a:gd name="T4" fmla="*/ 947451 w 1090670"/>
              <a:gd name="T5" fmla="*/ 0 h 539827"/>
              <a:gd name="T6" fmla="*/ 0 w 1090670"/>
              <a:gd name="T7" fmla="*/ 528810 h 539827"/>
              <a:gd name="T8" fmla="*/ 0 60000 65536"/>
              <a:gd name="T9" fmla="*/ 0 60000 65536"/>
              <a:gd name="T10" fmla="*/ 0 60000 65536"/>
              <a:gd name="T11" fmla="*/ 0 60000 65536"/>
              <a:gd name="T12" fmla="*/ 0 w 1090670"/>
              <a:gd name="T13" fmla="*/ 0 h 539827"/>
              <a:gd name="T14" fmla="*/ 1090670 w 1090670"/>
              <a:gd name="T15" fmla="*/ 539827 h 539827"/>
            </a:gdLst>
            <a:ahLst/>
            <a:cxnLst>
              <a:cxn ang="T8">
                <a:pos x="T0" y="T1"/>
              </a:cxn>
              <a:cxn ang="T9">
                <a:pos x="T2" y="T3"/>
              </a:cxn>
              <a:cxn ang="T10">
                <a:pos x="T4" y="T5"/>
              </a:cxn>
              <a:cxn ang="T11">
                <a:pos x="T6" y="T7"/>
              </a:cxn>
            </a:cxnLst>
            <a:rect l="T12" t="T13" r="T14" b="T15"/>
            <a:pathLst>
              <a:path w="1090670" h="539827">
                <a:moveTo>
                  <a:pt x="0" y="528810"/>
                </a:moveTo>
                <a:lnTo>
                  <a:pt x="1090670" y="539827"/>
                </a:lnTo>
                <a:lnTo>
                  <a:pt x="947451" y="0"/>
                </a:lnTo>
                <a:lnTo>
                  <a:pt x="0" y="528810"/>
                </a:lnTo>
                <a:close/>
              </a:path>
            </a:pathLst>
          </a:custGeom>
          <a:solidFill>
            <a:srgbClr val="D9213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45" name="任意多边形 79"/>
          <p:cNvSpPr>
            <a:spLocks noChangeArrowheads="1"/>
          </p:cNvSpPr>
          <p:nvPr userDrawn="1"/>
        </p:nvSpPr>
        <p:spPr bwMode="auto">
          <a:xfrm>
            <a:off x="4462463" y="1171575"/>
            <a:ext cx="1346200" cy="390525"/>
          </a:xfrm>
          <a:custGeom>
            <a:avLst/>
            <a:gdLst>
              <a:gd name="T0" fmla="*/ 165253 w 1784732"/>
              <a:gd name="T1" fmla="*/ 143219 h 506776"/>
              <a:gd name="T2" fmla="*/ 1784732 w 1784732"/>
              <a:gd name="T3" fmla="*/ 0 h 506776"/>
              <a:gd name="T4" fmla="*/ 0 w 1784732"/>
              <a:gd name="T5" fmla="*/ 506776 h 506776"/>
              <a:gd name="T6" fmla="*/ 165253 w 1784732"/>
              <a:gd name="T7" fmla="*/ 143219 h 506776"/>
              <a:gd name="T8" fmla="*/ 0 60000 65536"/>
              <a:gd name="T9" fmla="*/ 0 60000 65536"/>
              <a:gd name="T10" fmla="*/ 0 60000 65536"/>
              <a:gd name="T11" fmla="*/ 0 60000 65536"/>
              <a:gd name="T12" fmla="*/ 0 w 1784732"/>
              <a:gd name="T13" fmla="*/ 0 h 506776"/>
              <a:gd name="T14" fmla="*/ 1784732 w 1784732"/>
              <a:gd name="T15" fmla="*/ 506776 h 506776"/>
            </a:gdLst>
            <a:ahLst/>
            <a:cxnLst>
              <a:cxn ang="T8">
                <a:pos x="T0" y="T1"/>
              </a:cxn>
              <a:cxn ang="T9">
                <a:pos x="T2" y="T3"/>
              </a:cxn>
              <a:cxn ang="T10">
                <a:pos x="T4" y="T5"/>
              </a:cxn>
              <a:cxn ang="T11">
                <a:pos x="T6" y="T7"/>
              </a:cxn>
            </a:cxnLst>
            <a:rect l="T12" t="T13" r="T14" b="T15"/>
            <a:pathLst>
              <a:path w="1784732" h="506776">
                <a:moveTo>
                  <a:pt x="165253" y="143219"/>
                </a:moveTo>
                <a:lnTo>
                  <a:pt x="1784732" y="0"/>
                </a:lnTo>
                <a:lnTo>
                  <a:pt x="0" y="506776"/>
                </a:lnTo>
                <a:lnTo>
                  <a:pt x="165253" y="143219"/>
                </a:lnTo>
                <a:close/>
              </a:path>
            </a:pathLst>
          </a:custGeom>
          <a:solidFill>
            <a:srgbClr val="290C0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46" name="任意多边形 50"/>
          <p:cNvSpPr>
            <a:spLocks noChangeArrowheads="1"/>
          </p:cNvSpPr>
          <p:nvPr userDrawn="1"/>
        </p:nvSpPr>
        <p:spPr bwMode="auto">
          <a:xfrm>
            <a:off x="2206625" y="2230438"/>
            <a:ext cx="520700" cy="1149350"/>
          </a:xfrm>
          <a:custGeom>
            <a:avLst/>
            <a:gdLst>
              <a:gd name="T0" fmla="*/ 0 w 694063"/>
              <a:gd name="T1" fmla="*/ 0 h 1553378"/>
              <a:gd name="T2" fmla="*/ 694063 w 694063"/>
              <a:gd name="T3" fmla="*/ 55084 h 1553378"/>
              <a:gd name="T4" fmla="*/ 77118 w 694063"/>
              <a:gd name="T5" fmla="*/ 1553378 h 1553378"/>
              <a:gd name="T6" fmla="*/ 0 w 694063"/>
              <a:gd name="T7" fmla="*/ 0 h 1553378"/>
              <a:gd name="T8" fmla="*/ 0 60000 65536"/>
              <a:gd name="T9" fmla="*/ 0 60000 65536"/>
              <a:gd name="T10" fmla="*/ 0 60000 65536"/>
              <a:gd name="T11" fmla="*/ 0 60000 65536"/>
              <a:gd name="T12" fmla="*/ 0 w 694063"/>
              <a:gd name="T13" fmla="*/ 0 h 1553378"/>
              <a:gd name="T14" fmla="*/ 694063 w 694063"/>
              <a:gd name="T15" fmla="*/ 1553378 h 1553378"/>
            </a:gdLst>
            <a:ahLst/>
            <a:cxnLst>
              <a:cxn ang="T8">
                <a:pos x="T0" y="T1"/>
              </a:cxn>
              <a:cxn ang="T9">
                <a:pos x="T2" y="T3"/>
              </a:cxn>
              <a:cxn ang="T10">
                <a:pos x="T4" y="T5"/>
              </a:cxn>
              <a:cxn ang="T11">
                <a:pos x="T6" y="T7"/>
              </a:cxn>
            </a:cxnLst>
            <a:rect l="T12" t="T13" r="T14" b="T15"/>
            <a:pathLst>
              <a:path w="694063" h="1553378">
                <a:moveTo>
                  <a:pt x="0" y="0"/>
                </a:moveTo>
                <a:lnTo>
                  <a:pt x="694063" y="55084"/>
                </a:lnTo>
                <a:lnTo>
                  <a:pt x="77118" y="1553378"/>
                </a:lnTo>
                <a:lnTo>
                  <a:pt x="0" y="0"/>
                </a:lnTo>
                <a:close/>
              </a:path>
            </a:pathLst>
          </a:custGeom>
          <a:solidFill>
            <a:srgbClr val="EE3B3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47" name="任意多边形 40"/>
          <p:cNvSpPr>
            <a:spLocks noChangeArrowheads="1"/>
          </p:cNvSpPr>
          <p:nvPr userDrawn="1"/>
        </p:nvSpPr>
        <p:spPr bwMode="auto">
          <a:xfrm>
            <a:off x="2405063" y="1131888"/>
            <a:ext cx="1139825" cy="569912"/>
          </a:xfrm>
          <a:custGeom>
            <a:avLst/>
            <a:gdLst>
              <a:gd name="T0" fmla="*/ 0 w 1520328"/>
              <a:gd name="T1" fmla="*/ 638978 h 760164"/>
              <a:gd name="T2" fmla="*/ 991519 w 1520328"/>
              <a:gd name="T3" fmla="*/ 760164 h 760164"/>
              <a:gd name="T4" fmla="*/ 1520328 w 1520328"/>
              <a:gd name="T5" fmla="*/ 0 h 760164"/>
              <a:gd name="T6" fmla="*/ 0 w 1520328"/>
              <a:gd name="T7" fmla="*/ 638978 h 760164"/>
              <a:gd name="T8" fmla="*/ 0 60000 65536"/>
              <a:gd name="T9" fmla="*/ 0 60000 65536"/>
              <a:gd name="T10" fmla="*/ 0 60000 65536"/>
              <a:gd name="T11" fmla="*/ 0 60000 65536"/>
              <a:gd name="T12" fmla="*/ 0 w 1520328"/>
              <a:gd name="T13" fmla="*/ 0 h 760164"/>
              <a:gd name="T14" fmla="*/ 1520328 w 1520328"/>
              <a:gd name="T15" fmla="*/ 760164 h 760164"/>
            </a:gdLst>
            <a:ahLst/>
            <a:cxnLst>
              <a:cxn ang="T8">
                <a:pos x="T0" y="T1"/>
              </a:cxn>
              <a:cxn ang="T9">
                <a:pos x="T2" y="T3"/>
              </a:cxn>
              <a:cxn ang="T10">
                <a:pos x="T4" y="T5"/>
              </a:cxn>
              <a:cxn ang="T11">
                <a:pos x="T6" y="T7"/>
              </a:cxn>
            </a:cxnLst>
            <a:rect l="T12" t="T13" r="T14" b="T15"/>
            <a:pathLst>
              <a:path w="1520328" h="760164">
                <a:moveTo>
                  <a:pt x="0" y="638978"/>
                </a:moveTo>
                <a:lnTo>
                  <a:pt x="991519" y="760164"/>
                </a:lnTo>
                <a:lnTo>
                  <a:pt x="1520328" y="0"/>
                </a:lnTo>
                <a:lnTo>
                  <a:pt x="0" y="638978"/>
                </a:lnTo>
                <a:close/>
              </a:path>
            </a:pathLst>
          </a:custGeom>
          <a:solidFill>
            <a:srgbClr val="F5942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48" name="任意多边形 36"/>
          <p:cNvSpPr>
            <a:spLocks noChangeArrowheads="1"/>
          </p:cNvSpPr>
          <p:nvPr userDrawn="1"/>
        </p:nvSpPr>
        <p:spPr bwMode="auto">
          <a:xfrm>
            <a:off x="1858963" y="2603500"/>
            <a:ext cx="414337" cy="768350"/>
          </a:xfrm>
          <a:custGeom>
            <a:avLst/>
            <a:gdLst>
              <a:gd name="T0" fmla="*/ 0 w 550844"/>
              <a:gd name="T1" fmla="*/ 22034 h 1024569"/>
              <a:gd name="T2" fmla="*/ 550844 w 550844"/>
              <a:gd name="T3" fmla="*/ 0 h 1024569"/>
              <a:gd name="T4" fmla="*/ 550844 w 550844"/>
              <a:gd name="T5" fmla="*/ 1024569 h 1024569"/>
              <a:gd name="T6" fmla="*/ 0 w 550844"/>
              <a:gd name="T7" fmla="*/ 22034 h 1024569"/>
              <a:gd name="T8" fmla="*/ 0 60000 65536"/>
              <a:gd name="T9" fmla="*/ 0 60000 65536"/>
              <a:gd name="T10" fmla="*/ 0 60000 65536"/>
              <a:gd name="T11" fmla="*/ 0 60000 65536"/>
              <a:gd name="T12" fmla="*/ 0 w 550844"/>
              <a:gd name="T13" fmla="*/ 0 h 1024569"/>
              <a:gd name="T14" fmla="*/ 550844 w 550844"/>
              <a:gd name="T15" fmla="*/ 1024569 h 1024569"/>
            </a:gdLst>
            <a:ahLst/>
            <a:cxnLst>
              <a:cxn ang="T8">
                <a:pos x="T0" y="T1"/>
              </a:cxn>
              <a:cxn ang="T9">
                <a:pos x="T2" y="T3"/>
              </a:cxn>
              <a:cxn ang="T10">
                <a:pos x="T4" y="T5"/>
              </a:cxn>
              <a:cxn ang="T11">
                <a:pos x="T6" y="T7"/>
              </a:cxn>
            </a:cxnLst>
            <a:rect l="T12" t="T13" r="T14" b="T15"/>
            <a:pathLst>
              <a:path w="550844" h="1024569">
                <a:moveTo>
                  <a:pt x="0" y="22034"/>
                </a:moveTo>
                <a:lnTo>
                  <a:pt x="550844" y="0"/>
                </a:lnTo>
                <a:lnTo>
                  <a:pt x="550844" y="1024569"/>
                </a:lnTo>
                <a:lnTo>
                  <a:pt x="0" y="22034"/>
                </a:lnTo>
                <a:close/>
              </a:path>
            </a:pathLst>
          </a:custGeom>
          <a:solidFill>
            <a:srgbClr val="C71F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49" name="任意多边形 29"/>
          <p:cNvSpPr>
            <a:spLocks noChangeArrowheads="1"/>
          </p:cNvSpPr>
          <p:nvPr userDrawn="1"/>
        </p:nvSpPr>
        <p:spPr bwMode="auto">
          <a:xfrm>
            <a:off x="1552575" y="1866900"/>
            <a:ext cx="330200" cy="677863"/>
          </a:xfrm>
          <a:custGeom>
            <a:avLst/>
            <a:gdLst>
              <a:gd name="T0" fmla="*/ 429658 w 440675"/>
              <a:gd name="T1" fmla="*/ 0 h 903383"/>
              <a:gd name="T2" fmla="*/ 440675 w 440675"/>
              <a:gd name="T3" fmla="*/ 738130 h 903383"/>
              <a:gd name="T4" fmla="*/ 0 w 440675"/>
              <a:gd name="T5" fmla="*/ 903383 h 903383"/>
              <a:gd name="T6" fmla="*/ 429658 w 440675"/>
              <a:gd name="T7" fmla="*/ 0 h 903383"/>
              <a:gd name="T8" fmla="*/ 0 60000 65536"/>
              <a:gd name="T9" fmla="*/ 0 60000 65536"/>
              <a:gd name="T10" fmla="*/ 0 60000 65536"/>
              <a:gd name="T11" fmla="*/ 0 60000 65536"/>
              <a:gd name="T12" fmla="*/ 0 w 440675"/>
              <a:gd name="T13" fmla="*/ 0 h 903383"/>
              <a:gd name="T14" fmla="*/ 440675 w 440675"/>
              <a:gd name="T15" fmla="*/ 903383 h 903383"/>
            </a:gdLst>
            <a:ahLst/>
            <a:cxnLst>
              <a:cxn ang="T8">
                <a:pos x="T0" y="T1"/>
              </a:cxn>
              <a:cxn ang="T9">
                <a:pos x="T2" y="T3"/>
              </a:cxn>
              <a:cxn ang="T10">
                <a:pos x="T4" y="T5"/>
              </a:cxn>
              <a:cxn ang="T11">
                <a:pos x="T6" y="T7"/>
              </a:cxn>
            </a:cxnLst>
            <a:rect l="T12" t="T13" r="T14" b="T15"/>
            <a:pathLst>
              <a:path w="440675" h="903383">
                <a:moveTo>
                  <a:pt x="429658" y="0"/>
                </a:moveTo>
                <a:lnTo>
                  <a:pt x="440675" y="738130"/>
                </a:lnTo>
                <a:lnTo>
                  <a:pt x="0" y="903383"/>
                </a:lnTo>
                <a:lnTo>
                  <a:pt x="429658" y="0"/>
                </a:lnTo>
                <a:close/>
              </a:path>
            </a:pathLst>
          </a:custGeom>
          <a:solidFill>
            <a:srgbClr val="EA244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50" name="任意多边形 5"/>
          <p:cNvSpPr>
            <a:spLocks noChangeArrowheads="1"/>
          </p:cNvSpPr>
          <p:nvPr userDrawn="1"/>
        </p:nvSpPr>
        <p:spPr bwMode="auto">
          <a:xfrm>
            <a:off x="0" y="990600"/>
            <a:ext cx="190500" cy="1016000"/>
          </a:xfrm>
          <a:custGeom>
            <a:avLst/>
            <a:gdLst>
              <a:gd name="T0" fmla="*/ 0 w 242371"/>
              <a:gd name="T1" fmla="*/ 0 h 1355075"/>
              <a:gd name="T2" fmla="*/ 242371 w 242371"/>
              <a:gd name="T3" fmla="*/ 1355075 h 1355075"/>
              <a:gd name="T4" fmla="*/ 0 w 242371"/>
              <a:gd name="T5" fmla="*/ 1178805 h 1355075"/>
              <a:gd name="T6" fmla="*/ 0 w 242371"/>
              <a:gd name="T7" fmla="*/ 0 h 1355075"/>
              <a:gd name="T8" fmla="*/ 0 60000 65536"/>
              <a:gd name="T9" fmla="*/ 0 60000 65536"/>
              <a:gd name="T10" fmla="*/ 0 60000 65536"/>
              <a:gd name="T11" fmla="*/ 0 60000 65536"/>
              <a:gd name="T12" fmla="*/ 0 w 242371"/>
              <a:gd name="T13" fmla="*/ 0 h 1355075"/>
              <a:gd name="T14" fmla="*/ 242371 w 242371"/>
              <a:gd name="T15" fmla="*/ 1355075 h 1355075"/>
            </a:gdLst>
            <a:ahLst/>
            <a:cxnLst>
              <a:cxn ang="T8">
                <a:pos x="T0" y="T1"/>
              </a:cxn>
              <a:cxn ang="T9">
                <a:pos x="T2" y="T3"/>
              </a:cxn>
              <a:cxn ang="T10">
                <a:pos x="T4" y="T5"/>
              </a:cxn>
              <a:cxn ang="T11">
                <a:pos x="T6" y="T7"/>
              </a:cxn>
            </a:cxnLst>
            <a:rect l="T12" t="T13" r="T14" b="T15"/>
            <a:pathLst>
              <a:path w="242371" h="1355075">
                <a:moveTo>
                  <a:pt x="0" y="0"/>
                </a:moveTo>
                <a:lnTo>
                  <a:pt x="242371" y="1355075"/>
                </a:lnTo>
                <a:lnTo>
                  <a:pt x="0" y="1178805"/>
                </a:lnTo>
                <a:lnTo>
                  <a:pt x="0" y="0"/>
                </a:lnTo>
                <a:close/>
              </a:path>
            </a:pathLst>
          </a:custGeom>
          <a:solidFill>
            <a:srgbClr val="E7253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51" name="任意多边形 6"/>
          <p:cNvSpPr>
            <a:spLocks noChangeArrowheads="1"/>
          </p:cNvSpPr>
          <p:nvPr userDrawn="1"/>
        </p:nvSpPr>
        <p:spPr bwMode="auto">
          <a:xfrm>
            <a:off x="-15875" y="938213"/>
            <a:ext cx="1114425" cy="1069975"/>
          </a:xfrm>
          <a:custGeom>
            <a:avLst/>
            <a:gdLst>
              <a:gd name="T0" fmla="*/ 0 w 1454226"/>
              <a:gd name="T1" fmla="*/ 0 h 1388126"/>
              <a:gd name="T2" fmla="*/ 1454226 w 1454226"/>
              <a:gd name="T3" fmla="*/ 517793 h 1388126"/>
              <a:gd name="T4" fmla="*/ 253388 w 1454226"/>
              <a:gd name="T5" fmla="*/ 1388126 h 1388126"/>
              <a:gd name="T6" fmla="*/ 0 w 1454226"/>
              <a:gd name="T7" fmla="*/ 0 h 1388126"/>
              <a:gd name="T8" fmla="*/ 0 60000 65536"/>
              <a:gd name="T9" fmla="*/ 0 60000 65536"/>
              <a:gd name="T10" fmla="*/ 0 60000 65536"/>
              <a:gd name="T11" fmla="*/ 0 60000 65536"/>
              <a:gd name="T12" fmla="*/ 0 w 1454226"/>
              <a:gd name="T13" fmla="*/ 0 h 1388126"/>
              <a:gd name="T14" fmla="*/ 1454226 w 1454226"/>
              <a:gd name="T15" fmla="*/ 1388126 h 1388126"/>
            </a:gdLst>
            <a:ahLst/>
            <a:cxnLst>
              <a:cxn ang="T8">
                <a:pos x="T0" y="T1"/>
              </a:cxn>
              <a:cxn ang="T9">
                <a:pos x="T2" y="T3"/>
              </a:cxn>
              <a:cxn ang="T10">
                <a:pos x="T4" y="T5"/>
              </a:cxn>
              <a:cxn ang="T11">
                <a:pos x="T6" y="T7"/>
              </a:cxn>
            </a:cxnLst>
            <a:rect l="T12" t="T13" r="T14" b="T15"/>
            <a:pathLst>
              <a:path w="1454226" h="1388126">
                <a:moveTo>
                  <a:pt x="0" y="0"/>
                </a:moveTo>
                <a:lnTo>
                  <a:pt x="1454226" y="517793"/>
                </a:lnTo>
                <a:lnTo>
                  <a:pt x="253388" y="1388126"/>
                </a:lnTo>
                <a:lnTo>
                  <a:pt x="0" y="0"/>
                </a:lnTo>
                <a:close/>
              </a:path>
            </a:pathLst>
          </a:custGeom>
          <a:solidFill>
            <a:srgbClr val="EE642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52" name="任意多边形 7"/>
          <p:cNvSpPr>
            <a:spLocks noChangeArrowheads="1"/>
          </p:cNvSpPr>
          <p:nvPr userDrawn="1"/>
        </p:nvSpPr>
        <p:spPr bwMode="auto">
          <a:xfrm>
            <a:off x="-7938" y="1322388"/>
            <a:ext cx="1116013" cy="1082675"/>
          </a:xfrm>
          <a:custGeom>
            <a:avLst/>
            <a:gdLst>
              <a:gd name="T0" fmla="*/ 1465243 w 1465243"/>
              <a:gd name="T1" fmla="*/ 0 h 1443209"/>
              <a:gd name="T2" fmla="*/ 1167788 w 1465243"/>
              <a:gd name="T3" fmla="*/ 1366091 h 1443209"/>
              <a:gd name="T4" fmla="*/ 0 w 1465243"/>
              <a:gd name="T5" fmla="*/ 1443209 h 1443209"/>
              <a:gd name="T6" fmla="*/ 11017 w 1465243"/>
              <a:gd name="T7" fmla="*/ 1024568 h 1443209"/>
              <a:gd name="T8" fmla="*/ 1465243 w 1465243"/>
              <a:gd name="T9" fmla="*/ 0 h 1443209"/>
              <a:gd name="T10" fmla="*/ 0 60000 65536"/>
              <a:gd name="T11" fmla="*/ 0 60000 65536"/>
              <a:gd name="T12" fmla="*/ 0 60000 65536"/>
              <a:gd name="T13" fmla="*/ 0 60000 65536"/>
              <a:gd name="T14" fmla="*/ 0 60000 65536"/>
              <a:gd name="T15" fmla="*/ 0 w 1465243"/>
              <a:gd name="T16" fmla="*/ 0 h 1443209"/>
              <a:gd name="T17" fmla="*/ 1465243 w 1465243"/>
              <a:gd name="T18" fmla="*/ 1443209 h 1443209"/>
            </a:gdLst>
            <a:ahLst/>
            <a:cxnLst>
              <a:cxn ang="T10">
                <a:pos x="T0" y="T1"/>
              </a:cxn>
              <a:cxn ang="T11">
                <a:pos x="T2" y="T3"/>
              </a:cxn>
              <a:cxn ang="T12">
                <a:pos x="T4" y="T5"/>
              </a:cxn>
              <a:cxn ang="T13">
                <a:pos x="T6" y="T7"/>
              </a:cxn>
              <a:cxn ang="T14">
                <a:pos x="T8" y="T9"/>
              </a:cxn>
            </a:cxnLst>
            <a:rect l="T15" t="T16" r="T17" b="T18"/>
            <a:pathLst>
              <a:path w="1465243" h="1443209">
                <a:moveTo>
                  <a:pt x="1465243" y="0"/>
                </a:moveTo>
                <a:lnTo>
                  <a:pt x="1167788" y="1366091"/>
                </a:lnTo>
                <a:lnTo>
                  <a:pt x="0" y="1443209"/>
                </a:lnTo>
                <a:lnTo>
                  <a:pt x="11017" y="1024568"/>
                </a:lnTo>
                <a:lnTo>
                  <a:pt x="1465243" y="0"/>
                </a:lnTo>
                <a:close/>
              </a:path>
            </a:pathLst>
          </a:custGeom>
          <a:solidFill>
            <a:srgbClr val="EB403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53" name="任意多边形 8"/>
          <p:cNvSpPr>
            <a:spLocks noChangeArrowheads="1"/>
          </p:cNvSpPr>
          <p:nvPr userDrawn="1"/>
        </p:nvSpPr>
        <p:spPr bwMode="auto">
          <a:xfrm>
            <a:off x="-139700" y="1760538"/>
            <a:ext cx="312738" cy="438150"/>
          </a:xfrm>
          <a:custGeom>
            <a:avLst/>
            <a:gdLst>
              <a:gd name="T0" fmla="*/ 418641 w 418641"/>
              <a:gd name="T1" fmla="*/ 308472 h 583894"/>
              <a:gd name="T2" fmla="*/ 0 w 418641"/>
              <a:gd name="T3" fmla="*/ 583894 h 583894"/>
              <a:gd name="T4" fmla="*/ 77118 w 418641"/>
              <a:gd name="T5" fmla="*/ 0 h 583894"/>
              <a:gd name="T6" fmla="*/ 418641 w 418641"/>
              <a:gd name="T7" fmla="*/ 308472 h 583894"/>
              <a:gd name="T8" fmla="*/ 0 60000 65536"/>
              <a:gd name="T9" fmla="*/ 0 60000 65536"/>
              <a:gd name="T10" fmla="*/ 0 60000 65536"/>
              <a:gd name="T11" fmla="*/ 0 60000 65536"/>
              <a:gd name="T12" fmla="*/ 0 w 418641"/>
              <a:gd name="T13" fmla="*/ 0 h 583894"/>
              <a:gd name="T14" fmla="*/ 418641 w 418641"/>
              <a:gd name="T15" fmla="*/ 583894 h 583894"/>
            </a:gdLst>
            <a:ahLst/>
            <a:cxnLst>
              <a:cxn ang="T8">
                <a:pos x="T0" y="T1"/>
              </a:cxn>
              <a:cxn ang="T9">
                <a:pos x="T2" y="T3"/>
              </a:cxn>
              <a:cxn ang="T10">
                <a:pos x="T4" y="T5"/>
              </a:cxn>
              <a:cxn ang="T11">
                <a:pos x="T6" y="T7"/>
              </a:cxn>
            </a:cxnLst>
            <a:rect l="T12" t="T13" r="T14" b="T15"/>
            <a:pathLst>
              <a:path w="418641" h="583894">
                <a:moveTo>
                  <a:pt x="418641" y="308472"/>
                </a:moveTo>
                <a:lnTo>
                  <a:pt x="0" y="583894"/>
                </a:lnTo>
                <a:lnTo>
                  <a:pt x="77118" y="0"/>
                </a:lnTo>
                <a:lnTo>
                  <a:pt x="418641" y="308472"/>
                </a:lnTo>
                <a:close/>
              </a:path>
            </a:pathLst>
          </a:custGeom>
          <a:solidFill>
            <a:srgbClr val="D9203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54" name="任意多边形 9"/>
          <p:cNvSpPr>
            <a:spLocks noChangeArrowheads="1"/>
          </p:cNvSpPr>
          <p:nvPr userDrawn="1"/>
        </p:nvSpPr>
        <p:spPr bwMode="auto">
          <a:xfrm>
            <a:off x="-57150" y="2338388"/>
            <a:ext cx="965200" cy="412750"/>
          </a:xfrm>
          <a:custGeom>
            <a:avLst/>
            <a:gdLst>
              <a:gd name="T0" fmla="*/ 22034 w 1288973"/>
              <a:gd name="T1" fmla="*/ 88135 h 550844"/>
              <a:gd name="T2" fmla="*/ 1288973 w 1288973"/>
              <a:gd name="T3" fmla="*/ 0 h 550844"/>
              <a:gd name="T4" fmla="*/ 0 w 1288973"/>
              <a:gd name="T5" fmla="*/ 550844 h 550844"/>
              <a:gd name="T6" fmla="*/ 22034 w 1288973"/>
              <a:gd name="T7" fmla="*/ 88135 h 550844"/>
              <a:gd name="T8" fmla="*/ 0 60000 65536"/>
              <a:gd name="T9" fmla="*/ 0 60000 65536"/>
              <a:gd name="T10" fmla="*/ 0 60000 65536"/>
              <a:gd name="T11" fmla="*/ 0 60000 65536"/>
              <a:gd name="T12" fmla="*/ 0 w 1288973"/>
              <a:gd name="T13" fmla="*/ 0 h 550844"/>
              <a:gd name="T14" fmla="*/ 1288973 w 1288973"/>
              <a:gd name="T15" fmla="*/ 550844 h 550844"/>
            </a:gdLst>
            <a:ahLst/>
            <a:cxnLst>
              <a:cxn ang="T8">
                <a:pos x="T0" y="T1"/>
              </a:cxn>
              <a:cxn ang="T9">
                <a:pos x="T2" y="T3"/>
              </a:cxn>
              <a:cxn ang="T10">
                <a:pos x="T4" y="T5"/>
              </a:cxn>
              <a:cxn ang="T11">
                <a:pos x="T6" y="T7"/>
              </a:cxn>
            </a:cxnLst>
            <a:rect l="T12" t="T13" r="T14" b="T15"/>
            <a:pathLst>
              <a:path w="1288973" h="550844">
                <a:moveTo>
                  <a:pt x="22034" y="88135"/>
                </a:moveTo>
                <a:lnTo>
                  <a:pt x="1288973" y="0"/>
                </a:lnTo>
                <a:lnTo>
                  <a:pt x="0" y="550844"/>
                </a:lnTo>
                <a:lnTo>
                  <a:pt x="22034" y="88135"/>
                </a:lnTo>
                <a:close/>
              </a:path>
            </a:pathLst>
          </a:custGeom>
          <a:solidFill>
            <a:srgbClr val="39111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55" name="任意多边形 10"/>
          <p:cNvSpPr>
            <a:spLocks noChangeArrowheads="1"/>
          </p:cNvSpPr>
          <p:nvPr userDrawn="1"/>
        </p:nvSpPr>
        <p:spPr bwMode="auto">
          <a:xfrm>
            <a:off x="-7938" y="2330450"/>
            <a:ext cx="884238" cy="552450"/>
          </a:xfrm>
          <a:custGeom>
            <a:avLst/>
            <a:gdLst>
              <a:gd name="T0" fmla="*/ 1178805 w 1178805"/>
              <a:gd name="T1" fmla="*/ 0 h 738131"/>
              <a:gd name="T2" fmla="*/ 859316 w 1178805"/>
              <a:gd name="T3" fmla="*/ 661013 h 738131"/>
              <a:gd name="T4" fmla="*/ 11017 w 1178805"/>
              <a:gd name="T5" fmla="*/ 738131 h 738131"/>
              <a:gd name="T6" fmla="*/ 0 w 1178805"/>
              <a:gd name="T7" fmla="*/ 528810 h 738131"/>
              <a:gd name="T8" fmla="*/ 1178805 w 1178805"/>
              <a:gd name="T9" fmla="*/ 0 h 738131"/>
              <a:gd name="T10" fmla="*/ 0 60000 65536"/>
              <a:gd name="T11" fmla="*/ 0 60000 65536"/>
              <a:gd name="T12" fmla="*/ 0 60000 65536"/>
              <a:gd name="T13" fmla="*/ 0 60000 65536"/>
              <a:gd name="T14" fmla="*/ 0 60000 65536"/>
              <a:gd name="T15" fmla="*/ 0 w 1178805"/>
              <a:gd name="T16" fmla="*/ 0 h 738131"/>
              <a:gd name="T17" fmla="*/ 1178805 w 1178805"/>
              <a:gd name="T18" fmla="*/ 738131 h 738131"/>
            </a:gdLst>
            <a:ahLst/>
            <a:cxnLst>
              <a:cxn ang="T10">
                <a:pos x="T0" y="T1"/>
              </a:cxn>
              <a:cxn ang="T11">
                <a:pos x="T2" y="T3"/>
              </a:cxn>
              <a:cxn ang="T12">
                <a:pos x="T4" y="T5"/>
              </a:cxn>
              <a:cxn ang="T13">
                <a:pos x="T6" y="T7"/>
              </a:cxn>
              <a:cxn ang="T14">
                <a:pos x="T8" y="T9"/>
              </a:cxn>
            </a:cxnLst>
            <a:rect l="T15" t="T16" r="T17" b="T18"/>
            <a:pathLst>
              <a:path w="1178805" h="738131">
                <a:moveTo>
                  <a:pt x="1178805" y="0"/>
                </a:moveTo>
                <a:lnTo>
                  <a:pt x="859316" y="661013"/>
                </a:lnTo>
                <a:lnTo>
                  <a:pt x="11017" y="738131"/>
                </a:lnTo>
                <a:lnTo>
                  <a:pt x="0" y="528810"/>
                </a:lnTo>
                <a:lnTo>
                  <a:pt x="1178805" y="0"/>
                </a:lnTo>
                <a:close/>
              </a:path>
            </a:pathLst>
          </a:custGeom>
          <a:solidFill>
            <a:srgbClr val="660C1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56" name="任意多边形 11"/>
          <p:cNvSpPr>
            <a:spLocks noChangeArrowheads="1"/>
          </p:cNvSpPr>
          <p:nvPr userDrawn="1"/>
        </p:nvSpPr>
        <p:spPr bwMode="auto">
          <a:xfrm>
            <a:off x="-57150" y="2825750"/>
            <a:ext cx="701675" cy="669925"/>
          </a:xfrm>
          <a:custGeom>
            <a:avLst/>
            <a:gdLst>
              <a:gd name="T0" fmla="*/ 44067 w 936433"/>
              <a:gd name="T1" fmla="*/ 55084 h 892366"/>
              <a:gd name="T2" fmla="*/ 936433 w 936433"/>
              <a:gd name="T3" fmla="*/ 0 h 892366"/>
              <a:gd name="T4" fmla="*/ 363556 w 936433"/>
              <a:gd name="T5" fmla="*/ 760163 h 892366"/>
              <a:gd name="T6" fmla="*/ 0 w 936433"/>
              <a:gd name="T7" fmla="*/ 892366 h 892366"/>
              <a:gd name="T8" fmla="*/ 44067 w 936433"/>
              <a:gd name="T9" fmla="*/ 55084 h 892366"/>
              <a:gd name="T10" fmla="*/ 0 60000 65536"/>
              <a:gd name="T11" fmla="*/ 0 60000 65536"/>
              <a:gd name="T12" fmla="*/ 0 60000 65536"/>
              <a:gd name="T13" fmla="*/ 0 60000 65536"/>
              <a:gd name="T14" fmla="*/ 0 60000 65536"/>
              <a:gd name="T15" fmla="*/ 0 w 936433"/>
              <a:gd name="T16" fmla="*/ 0 h 892366"/>
              <a:gd name="T17" fmla="*/ 936433 w 936433"/>
              <a:gd name="T18" fmla="*/ 892366 h 892366"/>
            </a:gdLst>
            <a:ahLst/>
            <a:cxnLst>
              <a:cxn ang="T10">
                <a:pos x="T0" y="T1"/>
              </a:cxn>
              <a:cxn ang="T11">
                <a:pos x="T2" y="T3"/>
              </a:cxn>
              <a:cxn ang="T12">
                <a:pos x="T4" y="T5"/>
              </a:cxn>
              <a:cxn ang="T13">
                <a:pos x="T6" y="T7"/>
              </a:cxn>
              <a:cxn ang="T14">
                <a:pos x="T8" y="T9"/>
              </a:cxn>
            </a:cxnLst>
            <a:rect l="T15" t="T16" r="T17" b="T18"/>
            <a:pathLst>
              <a:path w="936433" h="892366">
                <a:moveTo>
                  <a:pt x="44067" y="55084"/>
                </a:moveTo>
                <a:lnTo>
                  <a:pt x="936433" y="0"/>
                </a:lnTo>
                <a:lnTo>
                  <a:pt x="363556" y="760163"/>
                </a:lnTo>
                <a:lnTo>
                  <a:pt x="0" y="892366"/>
                </a:lnTo>
                <a:lnTo>
                  <a:pt x="44067" y="55084"/>
                </a:lnTo>
                <a:close/>
              </a:path>
            </a:pathLst>
          </a:custGeom>
          <a:solidFill>
            <a:srgbClr val="82151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57" name="任意多边形 13"/>
          <p:cNvSpPr>
            <a:spLocks noChangeArrowheads="1"/>
          </p:cNvSpPr>
          <p:nvPr userDrawn="1"/>
        </p:nvSpPr>
        <p:spPr bwMode="auto">
          <a:xfrm>
            <a:off x="198438" y="2784475"/>
            <a:ext cx="1189037" cy="628650"/>
          </a:xfrm>
          <a:custGeom>
            <a:avLst/>
            <a:gdLst>
              <a:gd name="T0" fmla="*/ 572877 w 1586429"/>
              <a:gd name="T1" fmla="*/ 66102 h 837282"/>
              <a:gd name="T2" fmla="*/ 1586429 w 1586429"/>
              <a:gd name="T3" fmla="*/ 0 h 837282"/>
              <a:gd name="T4" fmla="*/ 0 w 1586429"/>
              <a:gd name="T5" fmla="*/ 837282 h 837282"/>
              <a:gd name="T6" fmla="*/ 572877 w 1586429"/>
              <a:gd name="T7" fmla="*/ 66102 h 837282"/>
              <a:gd name="T8" fmla="*/ 0 60000 65536"/>
              <a:gd name="T9" fmla="*/ 0 60000 65536"/>
              <a:gd name="T10" fmla="*/ 0 60000 65536"/>
              <a:gd name="T11" fmla="*/ 0 60000 65536"/>
              <a:gd name="T12" fmla="*/ 0 w 1586429"/>
              <a:gd name="T13" fmla="*/ 0 h 837282"/>
              <a:gd name="T14" fmla="*/ 1586429 w 1586429"/>
              <a:gd name="T15" fmla="*/ 837282 h 837282"/>
            </a:gdLst>
            <a:ahLst/>
            <a:cxnLst>
              <a:cxn ang="T8">
                <a:pos x="T0" y="T1"/>
              </a:cxn>
              <a:cxn ang="T9">
                <a:pos x="T2" y="T3"/>
              </a:cxn>
              <a:cxn ang="T10">
                <a:pos x="T4" y="T5"/>
              </a:cxn>
              <a:cxn ang="T11">
                <a:pos x="T6" y="T7"/>
              </a:cxn>
            </a:cxnLst>
            <a:rect l="T12" t="T13" r="T14" b="T15"/>
            <a:pathLst>
              <a:path w="1586429" h="837282">
                <a:moveTo>
                  <a:pt x="572877" y="66102"/>
                </a:moveTo>
                <a:lnTo>
                  <a:pt x="1586429" y="0"/>
                </a:lnTo>
                <a:lnTo>
                  <a:pt x="0" y="837282"/>
                </a:lnTo>
                <a:lnTo>
                  <a:pt x="572877" y="66102"/>
                </a:lnTo>
                <a:close/>
              </a:path>
            </a:pathLst>
          </a:custGeom>
          <a:solidFill>
            <a:srgbClr val="BC203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58" name="任意多边形 15"/>
          <p:cNvSpPr>
            <a:spLocks noChangeArrowheads="1"/>
          </p:cNvSpPr>
          <p:nvPr userDrawn="1"/>
        </p:nvSpPr>
        <p:spPr bwMode="auto">
          <a:xfrm>
            <a:off x="-320675" y="2786063"/>
            <a:ext cx="2586038" cy="950912"/>
          </a:xfrm>
          <a:custGeom>
            <a:avLst/>
            <a:gdLst>
              <a:gd name="T0" fmla="*/ 220338 w 3448280"/>
              <a:gd name="T1" fmla="*/ 980501 h 1255923"/>
              <a:gd name="T2" fmla="*/ 2258458 w 3448280"/>
              <a:gd name="T3" fmla="*/ 0 h 1255923"/>
              <a:gd name="T4" fmla="*/ 3448280 w 3448280"/>
              <a:gd name="T5" fmla="*/ 771181 h 1255923"/>
              <a:gd name="T6" fmla="*/ 0 w 3448280"/>
              <a:gd name="T7" fmla="*/ 1255923 h 1255923"/>
              <a:gd name="T8" fmla="*/ 220338 w 3448280"/>
              <a:gd name="T9" fmla="*/ 980501 h 1255923"/>
              <a:gd name="T10" fmla="*/ 0 60000 65536"/>
              <a:gd name="T11" fmla="*/ 0 60000 65536"/>
              <a:gd name="T12" fmla="*/ 0 60000 65536"/>
              <a:gd name="T13" fmla="*/ 0 60000 65536"/>
              <a:gd name="T14" fmla="*/ 0 60000 65536"/>
              <a:gd name="T15" fmla="*/ 0 w 3448280"/>
              <a:gd name="T16" fmla="*/ 0 h 1255923"/>
              <a:gd name="T17" fmla="*/ 3448280 w 3448280"/>
              <a:gd name="T18" fmla="*/ 1255923 h 1255923"/>
            </a:gdLst>
            <a:ahLst/>
            <a:cxnLst>
              <a:cxn ang="T10">
                <a:pos x="T0" y="T1"/>
              </a:cxn>
              <a:cxn ang="T11">
                <a:pos x="T2" y="T3"/>
              </a:cxn>
              <a:cxn ang="T12">
                <a:pos x="T4" y="T5"/>
              </a:cxn>
              <a:cxn ang="T13">
                <a:pos x="T6" y="T7"/>
              </a:cxn>
              <a:cxn ang="T14">
                <a:pos x="T8" y="T9"/>
              </a:cxn>
            </a:cxnLst>
            <a:rect l="T15" t="T16" r="T17" b="T18"/>
            <a:pathLst>
              <a:path w="3448280" h="1255923">
                <a:moveTo>
                  <a:pt x="220338" y="980501"/>
                </a:moveTo>
                <a:lnTo>
                  <a:pt x="2258458" y="0"/>
                </a:lnTo>
                <a:lnTo>
                  <a:pt x="3448280" y="771181"/>
                </a:lnTo>
                <a:lnTo>
                  <a:pt x="0" y="1255923"/>
                </a:lnTo>
                <a:lnTo>
                  <a:pt x="220338" y="980501"/>
                </a:lnTo>
                <a:close/>
              </a:path>
            </a:pathLst>
          </a:custGeom>
          <a:solidFill>
            <a:srgbClr val="CE213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59" name="任意多边形 17"/>
          <p:cNvSpPr>
            <a:spLocks noChangeArrowheads="1"/>
          </p:cNvSpPr>
          <p:nvPr userDrawn="1"/>
        </p:nvSpPr>
        <p:spPr bwMode="auto">
          <a:xfrm>
            <a:off x="1346200" y="2611438"/>
            <a:ext cx="942975" cy="784225"/>
          </a:xfrm>
          <a:custGeom>
            <a:avLst/>
            <a:gdLst>
              <a:gd name="T0" fmla="*/ 0 w 1255923"/>
              <a:gd name="T1" fmla="*/ 242371 h 1024569"/>
              <a:gd name="T2" fmla="*/ 705080 w 1255923"/>
              <a:gd name="T3" fmla="*/ 0 h 1024569"/>
              <a:gd name="T4" fmla="*/ 1255923 w 1255923"/>
              <a:gd name="T5" fmla="*/ 1024569 h 1024569"/>
              <a:gd name="T6" fmla="*/ 0 w 1255923"/>
              <a:gd name="T7" fmla="*/ 242371 h 1024569"/>
              <a:gd name="T8" fmla="*/ 0 60000 65536"/>
              <a:gd name="T9" fmla="*/ 0 60000 65536"/>
              <a:gd name="T10" fmla="*/ 0 60000 65536"/>
              <a:gd name="T11" fmla="*/ 0 60000 65536"/>
              <a:gd name="T12" fmla="*/ 0 w 1255923"/>
              <a:gd name="T13" fmla="*/ 0 h 1024569"/>
              <a:gd name="T14" fmla="*/ 1255923 w 1255923"/>
              <a:gd name="T15" fmla="*/ 1024569 h 1024569"/>
            </a:gdLst>
            <a:ahLst/>
            <a:cxnLst>
              <a:cxn ang="T8">
                <a:pos x="T0" y="T1"/>
              </a:cxn>
              <a:cxn ang="T9">
                <a:pos x="T2" y="T3"/>
              </a:cxn>
              <a:cxn ang="T10">
                <a:pos x="T4" y="T5"/>
              </a:cxn>
              <a:cxn ang="T11">
                <a:pos x="T6" y="T7"/>
              </a:cxn>
            </a:cxnLst>
            <a:rect l="T12" t="T13" r="T14" b="T15"/>
            <a:pathLst>
              <a:path w="1255923" h="1024569">
                <a:moveTo>
                  <a:pt x="0" y="242371"/>
                </a:moveTo>
                <a:lnTo>
                  <a:pt x="705080" y="0"/>
                </a:lnTo>
                <a:lnTo>
                  <a:pt x="1255923" y="1024569"/>
                </a:lnTo>
                <a:lnTo>
                  <a:pt x="0" y="242371"/>
                </a:lnTo>
                <a:close/>
              </a:path>
            </a:pathLst>
          </a:custGeom>
          <a:solidFill>
            <a:srgbClr val="D11F4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60" name="任意多边形 18"/>
          <p:cNvSpPr>
            <a:spLocks noChangeArrowheads="1"/>
          </p:cNvSpPr>
          <p:nvPr userDrawn="1"/>
        </p:nvSpPr>
        <p:spPr bwMode="auto">
          <a:xfrm>
            <a:off x="1214438" y="2635250"/>
            <a:ext cx="644525" cy="165100"/>
          </a:xfrm>
          <a:custGeom>
            <a:avLst/>
            <a:gdLst>
              <a:gd name="T0" fmla="*/ 0 w 859315"/>
              <a:gd name="T1" fmla="*/ 11017 h 253388"/>
              <a:gd name="T2" fmla="*/ 859315 w 859315"/>
              <a:gd name="T3" fmla="*/ 0 h 253388"/>
              <a:gd name="T4" fmla="*/ 220337 w 859315"/>
              <a:gd name="T5" fmla="*/ 253388 h 253388"/>
              <a:gd name="T6" fmla="*/ 0 w 859315"/>
              <a:gd name="T7" fmla="*/ 11017 h 253388"/>
              <a:gd name="T8" fmla="*/ 0 60000 65536"/>
              <a:gd name="T9" fmla="*/ 0 60000 65536"/>
              <a:gd name="T10" fmla="*/ 0 60000 65536"/>
              <a:gd name="T11" fmla="*/ 0 60000 65536"/>
              <a:gd name="T12" fmla="*/ 0 w 859315"/>
              <a:gd name="T13" fmla="*/ 0 h 253388"/>
              <a:gd name="T14" fmla="*/ 859315 w 859315"/>
              <a:gd name="T15" fmla="*/ 253388 h 253388"/>
            </a:gdLst>
            <a:ahLst/>
            <a:cxnLst>
              <a:cxn ang="T8">
                <a:pos x="T0" y="T1"/>
              </a:cxn>
              <a:cxn ang="T9">
                <a:pos x="T2" y="T3"/>
              </a:cxn>
              <a:cxn ang="T10">
                <a:pos x="T4" y="T5"/>
              </a:cxn>
              <a:cxn ang="T11">
                <a:pos x="T6" y="T7"/>
              </a:cxn>
            </a:cxnLst>
            <a:rect l="T12" t="T13" r="T14" b="T15"/>
            <a:pathLst>
              <a:path w="859315" h="253388">
                <a:moveTo>
                  <a:pt x="0" y="11017"/>
                </a:moveTo>
                <a:lnTo>
                  <a:pt x="859315" y="0"/>
                </a:lnTo>
                <a:lnTo>
                  <a:pt x="220337" y="253388"/>
                </a:lnTo>
                <a:lnTo>
                  <a:pt x="0" y="11017"/>
                </a:lnTo>
                <a:close/>
              </a:path>
            </a:pathLst>
          </a:custGeom>
          <a:solidFill>
            <a:srgbClr val="34110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61" name="任意多边形 19"/>
          <p:cNvSpPr>
            <a:spLocks noChangeArrowheads="1"/>
          </p:cNvSpPr>
          <p:nvPr userDrawn="1"/>
        </p:nvSpPr>
        <p:spPr bwMode="auto">
          <a:xfrm>
            <a:off x="1222375" y="2420938"/>
            <a:ext cx="661988" cy="231775"/>
          </a:xfrm>
          <a:custGeom>
            <a:avLst/>
            <a:gdLst>
              <a:gd name="T0" fmla="*/ 0 w 881350"/>
              <a:gd name="T1" fmla="*/ 297456 h 308473"/>
              <a:gd name="T2" fmla="*/ 881350 w 881350"/>
              <a:gd name="T3" fmla="*/ 0 h 308473"/>
              <a:gd name="T4" fmla="*/ 837282 w 881350"/>
              <a:gd name="T5" fmla="*/ 308473 h 308473"/>
              <a:gd name="T6" fmla="*/ 0 w 881350"/>
              <a:gd name="T7" fmla="*/ 297456 h 308473"/>
              <a:gd name="T8" fmla="*/ 0 60000 65536"/>
              <a:gd name="T9" fmla="*/ 0 60000 65536"/>
              <a:gd name="T10" fmla="*/ 0 60000 65536"/>
              <a:gd name="T11" fmla="*/ 0 60000 65536"/>
              <a:gd name="T12" fmla="*/ 0 w 881350"/>
              <a:gd name="T13" fmla="*/ 0 h 308473"/>
              <a:gd name="T14" fmla="*/ 881350 w 881350"/>
              <a:gd name="T15" fmla="*/ 308473 h 308473"/>
            </a:gdLst>
            <a:ahLst/>
            <a:cxnLst>
              <a:cxn ang="T8">
                <a:pos x="T0" y="T1"/>
              </a:cxn>
              <a:cxn ang="T9">
                <a:pos x="T2" y="T3"/>
              </a:cxn>
              <a:cxn ang="T10">
                <a:pos x="T4" y="T5"/>
              </a:cxn>
              <a:cxn ang="T11">
                <a:pos x="T6" y="T7"/>
              </a:cxn>
            </a:cxnLst>
            <a:rect l="T12" t="T13" r="T14" b="T15"/>
            <a:pathLst>
              <a:path w="881350" h="308473">
                <a:moveTo>
                  <a:pt x="0" y="297456"/>
                </a:moveTo>
                <a:lnTo>
                  <a:pt x="881350" y="0"/>
                </a:lnTo>
                <a:lnTo>
                  <a:pt x="837282" y="308473"/>
                </a:lnTo>
                <a:lnTo>
                  <a:pt x="0" y="297456"/>
                </a:lnTo>
                <a:close/>
              </a:path>
            </a:pathLst>
          </a:custGeom>
          <a:solidFill>
            <a:srgbClr val="A61E3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62" name="任意多边形 21"/>
          <p:cNvSpPr>
            <a:spLocks noChangeArrowheads="1"/>
          </p:cNvSpPr>
          <p:nvPr userDrawn="1"/>
        </p:nvSpPr>
        <p:spPr bwMode="auto">
          <a:xfrm>
            <a:off x="884238" y="2189163"/>
            <a:ext cx="355600" cy="479425"/>
          </a:xfrm>
          <a:custGeom>
            <a:avLst/>
            <a:gdLst>
              <a:gd name="T0" fmla="*/ 0 w 473725"/>
              <a:gd name="T1" fmla="*/ 187287 h 638978"/>
              <a:gd name="T2" fmla="*/ 451691 w 473725"/>
              <a:gd name="T3" fmla="*/ 0 h 638978"/>
              <a:gd name="T4" fmla="*/ 473725 w 473725"/>
              <a:gd name="T5" fmla="*/ 638978 h 638978"/>
              <a:gd name="T6" fmla="*/ 0 w 473725"/>
              <a:gd name="T7" fmla="*/ 187287 h 638978"/>
              <a:gd name="T8" fmla="*/ 0 60000 65536"/>
              <a:gd name="T9" fmla="*/ 0 60000 65536"/>
              <a:gd name="T10" fmla="*/ 0 60000 65536"/>
              <a:gd name="T11" fmla="*/ 0 60000 65536"/>
              <a:gd name="T12" fmla="*/ 0 w 473725"/>
              <a:gd name="T13" fmla="*/ 0 h 638978"/>
              <a:gd name="T14" fmla="*/ 473725 w 473725"/>
              <a:gd name="T15" fmla="*/ 638978 h 638978"/>
            </a:gdLst>
            <a:ahLst/>
            <a:cxnLst>
              <a:cxn ang="T8">
                <a:pos x="T0" y="T1"/>
              </a:cxn>
              <a:cxn ang="T9">
                <a:pos x="T2" y="T3"/>
              </a:cxn>
              <a:cxn ang="T10">
                <a:pos x="T4" y="T5"/>
              </a:cxn>
              <a:cxn ang="T11">
                <a:pos x="T6" y="T7"/>
              </a:cxn>
            </a:cxnLst>
            <a:rect l="T12" t="T13" r="T14" b="T15"/>
            <a:pathLst>
              <a:path w="473725" h="638978">
                <a:moveTo>
                  <a:pt x="0" y="187287"/>
                </a:moveTo>
                <a:lnTo>
                  <a:pt x="451691" y="0"/>
                </a:lnTo>
                <a:lnTo>
                  <a:pt x="473725" y="638978"/>
                </a:lnTo>
                <a:lnTo>
                  <a:pt x="0" y="187287"/>
                </a:lnTo>
                <a:close/>
              </a:path>
            </a:pathLst>
          </a:custGeom>
          <a:solidFill>
            <a:srgbClr val="BD20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63" name="任意多边形 22"/>
          <p:cNvSpPr>
            <a:spLocks noChangeArrowheads="1"/>
          </p:cNvSpPr>
          <p:nvPr userDrawn="1"/>
        </p:nvSpPr>
        <p:spPr bwMode="auto">
          <a:xfrm>
            <a:off x="858838" y="1314450"/>
            <a:ext cx="355600" cy="1031875"/>
          </a:xfrm>
          <a:custGeom>
            <a:avLst/>
            <a:gdLst>
              <a:gd name="T0" fmla="*/ 319489 w 473726"/>
              <a:gd name="T1" fmla="*/ 0 h 1377108"/>
              <a:gd name="T2" fmla="*/ 473726 w 473726"/>
              <a:gd name="T3" fmla="*/ 1244906 h 1377108"/>
              <a:gd name="T4" fmla="*/ 0 w 473726"/>
              <a:gd name="T5" fmla="*/ 1377108 h 1377108"/>
              <a:gd name="T6" fmla="*/ 319489 w 473726"/>
              <a:gd name="T7" fmla="*/ 0 h 1377108"/>
              <a:gd name="T8" fmla="*/ 0 60000 65536"/>
              <a:gd name="T9" fmla="*/ 0 60000 65536"/>
              <a:gd name="T10" fmla="*/ 0 60000 65536"/>
              <a:gd name="T11" fmla="*/ 0 60000 65536"/>
              <a:gd name="T12" fmla="*/ 0 w 473726"/>
              <a:gd name="T13" fmla="*/ 0 h 1377108"/>
              <a:gd name="T14" fmla="*/ 473726 w 473726"/>
              <a:gd name="T15" fmla="*/ 1377108 h 1377108"/>
            </a:gdLst>
            <a:ahLst/>
            <a:cxnLst>
              <a:cxn ang="T8">
                <a:pos x="T0" y="T1"/>
              </a:cxn>
              <a:cxn ang="T9">
                <a:pos x="T2" y="T3"/>
              </a:cxn>
              <a:cxn ang="T10">
                <a:pos x="T4" y="T5"/>
              </a:cxn>
              <a:cxn ang="T11">
                <a:pos x="T6" y="T7"/>
              </a:cxn>
            </a:cxnLst>
            <a:rect l="T12" t="T13" r="T14" b="T15"/>
            <a:pathLst>
              <a:path w="473726" h="1377108">
                <a:moveTo>
                  <a:pt x="319489" y="0"/>
                </a:moveTo>
                <a:lnTo>
                  <a:pt x="473726" y="1244906"/>
                </a:lnTo>
                <a:lnTo>
                  <a:pt x="0" y="1377108"/>
                </a:lnTo>
                <a:lnTo>
                  <a:pt x="319489" y="0"/>
                </a:lnTo>
                <a:close/>
              </a:path>
            </a:pathLst>
          </a:custGeom>
          <a:solidFill>
            <a:srgbClr val="F1722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64" name="任意多边形 24"/>
          <p:cNvSpPr>
            <a:spLocks noChangeArrowheads="1"/>
          </p:cNvSpPr>
          <p:nvPr userDrawn="1"/>
        </p:nvSpPr>
        <p:spPr bwMode="auto">
          <a:xfrm>
            <a:off x="1090613" y="1330325"/>
            <a:ext cx="347662" cy="982663"/>
          </a:xfrm>
          <a:custGeom>
            <a:avLst/>
            <a:gdLst>
              <a:gd name="T0" fmla="*/ 0 w 451692"/>
              <a:gd name="T1" fmla="*/ 0 h 1233889"/>
              <a:gd name="T2" fmla="*/ 451692 w 451692"/>
              <a:gd name="T3" fmla="*/ 352539 h 1233889"/>
              <a:gd name="T4" fmla="*/ 165253 w 451692"/>
              <a:gd name="T5" fmla="*/ 1233889 h 1233889"/>
              <a:gd name="T6" fmla="*/ 0 w 451692"/>
              <a:gd name="T7" fmla="*/ 0 h 1233889"/>
              <a:gd name="T8" fmla="*/ 0 60000 65536"/>
              <a:gd name="T9" fmla="*/ 0 60000 65536"/>
              <a:gd name="T10" fmla="*/ 0 60000 65536"/>
              <a:gd name="T11" fmla="*/ 0 60000 65536"/>
              <a:gd name="T12" fmla="*/ 0 w 451692"/>
              <a:gd name="T13" fmla="*/ 0 h 1233889"/>
              <a:gd name="T14" fmla="*/ 451692 w 451692"/>
              <a:gd name="T15" fmla="*/ 1233889 h 1233889"/>
            </a:gdLst>
            <a:ahLst/>
            <a:cxnLst>
              <a:cxn ang="T8">
                <a:pos x="T0" y="T1"/>
              </a:cxn>
              <a:cxn ang="T9">
                <a:pos x="T2" y="T3"/>
              </a:cxn>
              <a:cxn ang="T10">
                <a:pos x="T4" y="T5"/>
              </a:cxn>
              <a:cxn ang="T11">
                <a:pos x="T6" y="T7"/>
              </a:cxn>
            </a:cxnLst>
            <a:rect l="T12" t="T13" r="T14" b="T15"/>
            <a:pathLst>
              <a:path w="451692" h="1233889">
                <a:moveTo>
                  <a:pt x="0" y="0"/>
                </a:moveTo>
                <a:lnTo>
                  <a:pt x="451692" y="352539"/>
                </a:lnTo>
                <a:lnTo>
                  <a:pt x="165253" y="1233889"/>
                </a:lnTo>
                <a:lnTo>
                  <a:pt x="0" y="0"/>
                </a:lnTo>
                <a:close/>
              </a:path>
            </a:pathLst>
          </a:custGeom>
          <a:solidFill>
            <a:srgbClr val="E9254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65" name="任意多边形 25"/>
          <p:cNvSpPr>
            <a:spLocks noChangeArrowheads="1"/>
          </p:cNvSpPr>
          <p:nvPr userDrawn="1"/>
        </p:nvSpPr>
        <p:spPr bwMode="auto">
          <a:xfrm>
            <a:off x="1231900" y="1593850"/>
            <a:ext cx="635000" cy="603250"/>
          </a:xfrm>
          <a:custGeom>
            <a:avLst/>
            <a:gdLst>
              <a:gd name="T0" fmla="*/ 275422 w 848299"/>
              <a:gd name="T1" fmla="*/ 0 h 804232"/>
              <a:gd name="T2" fmla="*/ 848299 w 848299"/>
              <a:gd name="T3" fmla="*/ 407625 h 804232"/>
              <a:gd name="T4" fmla="*/ 0 w 848299"/>
              <a:gd name="T5" fmla="*/ 804232 h 804232"/>
              <a:gd name="T6" fmla="*/ 275422 w 848299"/>
              <a:gd name="T7" fmla="*/ 0 h 804232"/>
              <a:gd name="T8" fmla="*/ 0 60000 65536"/>
              <a:gd name="T9" fmla="*/ 0 60000 65536"/>
              <a:gd name="T10" fmla="*/ 0 60000 65536"/>
              <a:gd name="T11" fmla="*/ 0 60000 65536"/>
              <a:gd name="T12" fmla="*/ 0 w 848299"/>
              <a:gd name="T13" fmla="*/ 0 h 804232"/>
              <a:gd name="T14" fmla="*/ 848299 w 848299"/>
              <a:gd name="T15" fmla="*/ 804232 h 804232"/>
            </a:gdLst>
            <a:ahLst/>
            <a:cxnLst>
              <a:cxn ang="T8">
                <a:pos x="T0" y="T1"/>
              </a:cxn>
              <a:cxn ang="T9">
                <a:pos x="T2" y="T3"/>
              </a:cxn>
              <a:cxn ang="T10">
                <a:pos x="T4" y="T5"/>
              </a:cxn>
              <a:cxn ang="T11">
                <a:pos x="T6" y="T7"/>
              </a:cxn>
            </a:cxnLst>
            <a:rect l="T12" t="T13" r="T14" b="T15"/>
            <a:pathLst>
              <a:path w="848299" h="804232">
                <a:moveTo>
                  <a:pt x="275422" y="0"/>
                </a:moveTo>
                <a:lnTo>
                  <a:pt x="848299" y="407625"/>
                </a:lnTo>
                <a:lnTo>
                  <a:pt x="0" y="804232"/>
                </a:lnTo>
                <a:lnTo>
                  <a:pt x="275422" y="0"/>
                </a:lnTo>
                <a:close/>
              </a:path>
            </a:pathLst>
          </a:custGeom>
          <a:solidFill>
            <a:srgbClr val="C9203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66" name="任意多边形 27"/>
          <p:cNvSpPr>
            <a:spLocks noChangeArrowheads="1"/>
          </p:cNvSpPr>
          <p:nvPr userDrawn="1"/>
        </p:nvSpPr>
        <p:spPr bwMode="auto">
          <a:xfrm>
            <a:off x="1222375" y="2206625"/>
            <a:ext cx="223838" cy="438150"/>
          </a:xfrm>
          <a:custGeom>
            <a:avLst/>
            <a:gdLst>
              <a:gd name="T0" fmla="*/ 0 w 297456"/>
              <a:gd name="T1" fmla="*/ 0 h 583894"/>
              <a:gd name="T2" fmla="*/ 297456 w 297456"/>
              <a:gd name="T3" fmla="*/ 242371 h 583894"/>
              <a:gd name="T4" fmla="*/ 0 w 297456"/>
              <a:gd name="T5" fmla="*/ 583894 h 583894"/>
              <a:gd name="T6" fmla="*/ 0 w 297456"/>
              <a:gd name="T7" fmla="*/ 0 h 583894"/>
              <a:gd name="T8" fmla="*/ 0 60000 65536"/>
              <a:gd name="T9" fmla="*/ 0 60000 65536"/>
              <a:gd name="T10" fmla="*/ 0 60000 65536"/>
              <a:gd name="T11" fmla="*/ 0 60000 65536"/>
              <a:gd name="T12" fmla="*/ 0 w 297456"/>
              <a:gd name="T13" fmla="*/ 0 h 583894"/>
              <a:gd name="T14" fmla="*/ 297456 w 297456"/>
              <a:gd name="T15" fmla="*/ 583894 h 583894"/>
            </a:gdLst>
            <a:ahLst/>
            <a:cxnLst>
              <a:cxn ang="T8">
                <a:pos x="T0" y="T1"/>
              </a:cxn>
              <a:cxn ang="T9">
                <a:pos x="T2" y="T3"/>
              </a:cxn>
              <a:cxn ang="T10">
                <a:pos x="T4" y="T5"/>
              </a:cxn>
              <a:cxn ang="T11">
                <a:pos x="T6" y="T7"/>
              </a:cxn>
            </a:cxnLst>
            <a:rect l="T12" t="T13" r="T14" b="T15"/>
            <a:pathLst>
              <a:path w="297456" h="583894">
                <a:moveTo>
                  <a:pt x="0" y="0"/>
                </a:moveTo>
                <a:lnTo>
                  <a:pt x="297456" y="242371"/>
                </a:lnTo>
                <a:lnTo>
                  <a:pt x="0" y="583894"/>
                </a:lnTo>
                <a:lnTo>
                  <a:pt x="0" y="0"/>
                </a:lnTo>
                <a:close/>
              </a:path>
            </a:pathLst>
          </a:custGeom>
          <a:solidFill>
            <a:srgbClr val="5F0B1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67" name="任意多边形 32"/>
          <p:cNvSpPr>
            <a:spLocks noChangeArrowheads="1"/>
          </p:cNvSpPr>
          <p:nvPr userDrawn="1"/>
        </p:nvSpPr>
        <p:spPr bwMode="auto">
          <a:xfrm>
            <a:off x="1420813" y="1593850"/>
            <a:ext cx="900112" cy="736600"/>
          </a:xfrm>
          <a:custGeom>
            <a:avLst/>
            <a:gdLst>
              <a:gd name="T0" fmla="*/ 0 w 1134738"/>
              <a:gd name="T1" fmla="*/ 0 h 881350"/>
              <a:gd name="T2" fmla="*/ 1134738 w 1134738"/>
              <a:gd name="T3" fmla="*/ 881350 h 881350"/>
              <a:gd name="T4" fmla="*/ 627962 w 1134738"/>
              <a:gd name="T5" fmla="*/ 165253 h 881350"/>
              <a:gd name="T6" fmla="*/ 0 w 1134738"/>
              <a:gd name="T7" fmla="*/ 0 h 881350"/>
              <a:gd name="T8" fmla="*/ 0 60000 65536"/>
              <a:gd name="T9" fmla="*/ 0 60000 65536"/>
              <a:gd name="T10" fmla="*/ 0 60000 65536"/>
              <a:gd name="T11" fmla="*/ 0 60000 65536"/>
              <a:gd name="T12" fmla="*/ 0 w 1134738"/>
              <a:gd name="T13" fmla="*/ 0 h 881350"/>
              <a:gd name="T14" fmla="*/ 1134738 w 1134738"/>
              <a:gd name="T15" fmla="*/ 881350 h 881350"/>
            </a:gdLst>
            <a:ahLst/>
            <a:cxnLst>
              <a:cxn ang="T8">
                <a:pos x="T0" y="T1"/>
              </a:cxn>
              <a:cxn ang="T9">
                <a:pos x="T2" y="T3"/>
              </a:cxn>
              <a:cxn ang="T10">
                <a:pos x="T4" y="T5"/>
              </a:cxn>
              <a:cxn ang="T11">
                <a:pos x="T6" y="T7"/>
              </a:cxn>
            </a:cxnLst>
            <a:rect l="T12" t="T13" r="T14" b="T15"/>
            <a:pathLst>
              <a:path w="1134738" h="881350">
                <a:moveTo>
                  <a:pt x="0" y="0"/>
                </a:moveTo>
                <a:lnTo>
                  <a:pt x="1134738" y="881350"/>
                </a:lnTo>
                <a:lnTo>
                  <a:pt x="627962" y="165253"/>
                </a:lnTo>
                <a:lnTo>
                  <a:pt x="0" y="0"/>
                </a:lnTo>
                <a:close/>
              </a:path>
            </a:pathLst>
          </a:custGeom>
          <a:solidFill>
            <a:srgbClr val="EA2E3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68" name="任意多边形 33"/>
          <p:cNvSpPr>
            <a:spLocks noChangeArrowheads="1"/>
          </p:cNvSpPr>
          <p:nvPr userDrawn="1"/>
        </p:nvSpPr>
        <p:spPr bwMode="auto">
          <a:xfrm>
            <a:off x="1866900" y="1949450"/>
            <a:ext cx="388938" cy="447675"/>
          </a:xfrm>
          <a:custGeom>
            <a:avLst/>
            <a:gdLst>
              <a:gd name="T0" fmla="*/ 517793 w 517793"/>
              <a:gd name="T1" fmla="*/ 418641 h 594911"/>
              <a:gd name="T2" fmla="*/ 0 w 517793"/>
              <a:gd name="T3" fmla="*/ 594911 h 594911"/>
              <a:gd name="T4" fmla="*/ 11017 w 517793"/>
              <a:gd name="T5" fmla="*/ 0 h 594911"/>
              <a:gd name="T6" fmla="*/ 517793 w 517793"/>
              <a:gd name="T7" fmla="*/ 418641 h 594911"/>
              <a:gd name="T8" fmla="*/ 0 60000 65536"/>
              <a:gd name="T9" fmla="*/ 0 60000 65536"/>
              <a:gd name="T10" fmla="*/ 0 60000 65536"/>
              <a:gd name="T11" fmla="*/ 0 60000 65536"/>
              <a:gd name="T12" fmla="*/ 0 w 517793"/>
              <a:gd name="T13" fmla="*/ 0 h 594911"/>
              <a:gd name="T14" fmla="*/ 517793 w 517793"/>
              <a:gd name="T15" fmla="*/ 594911 h 594911"/>
            </a:gdLst>
            <a:ahLst/>
            <a:cxnLst>
              <a:cxn ang="T8">
                <a:pos x="T0" y="T1"/>
              </a:cxn>
              <a:cxn ang="T9">
                <a:pos x="T2" y="T3"/>
              </a:cxn>
              <a:cxn ang="T10">
                <a:pos x="T4" y="T5"/>
              </a:cxn>
              <a:cxn ang="T11">
                <a:pos x="T6" y="T7"/>
              </a:cxn>
            </a:cxnLst>
            <a:rect l="T12" t="T13" r="T14" b="T15"/>
            <a:pathLst>
              <a:path w="517793" h="594911">
                <a:moveTo>
                  <a:pt x="517793" y="418641"/>
                </a:moveTo>
                <a:lnTo>
                  <a:pt x="0" y="594911"/>
                </a:lnTo>
                <a:lnTo>
                  <a:pt x="11017" y="0"/>
                </a:lnTo>
                <a:lnTo>
                  <a:pt x="517793" y="418641"/>
                </a:lnTo>
                <a:close/>
              </a:path>
            </a:pathLst>
          </a:custGeom>
          <a:solidFill>
            <a:srgbClr val="C41F4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69" name="任意多边形 37"/>
          <p:cNvSpPr>
            <a:spLocks noChangeArrowheads="1"/>
          </p:cNvSpPr>
          <p:nvPr userDrawn="1"/>
        </p:nvSpPr>
        <p:spPr bwMode="auto">
          <a:xfrm>
            <a:off x="1454150" y="1273175"/>
            <a:ext cx="933450" cy="461963"/>
          </a:xfrm>
          <a:custGeom>
            <a:avLst/>
            <a:gdLst>
              <a:gd name="T0" fmla="*/ 0 w 1244906"/>
              <a:gd name="T1" fmla="*/ 418641 h 572878"/>
              <a:gd name="T2" fmla="*/ 1244906 w 1244906"/>
              <a:gd name="T3" fmla="*/ 0 h 572878"/>
              <a:gd name="T4" fmla="*/ 561861 w 1244906"/>
              <a:gd name="T5" fmla="*/ 572878 h 572878"/>
              <a:gd name="T6" fmla="*/ 0 w 1244906"/>
              <a:gd name="T7" fmla="*/ 418641 h 572878"/>
              <a:gd name="T8" fmla="*/ 0 60000 65536"/>
              <a:gd name="T9" fmla="*/ 0 60000 65536"/>
              <a:gd name="T10" fmla="*/ 0 60000 65536"/>
              <a:gd name="T11" fmla="*/ 0 60000 65536"/>
              <a:gd name="T12" fmla="*/ 0 w 1244906"/>
              <a:gd name="T13" fmla="*/ 0 h 572878"/>
              <a:gd name="T14" fmla="*/ 1244906 w 1244906"/>
              <a:gd name="T15" fmla="*/ 572878 h 572878"/>
            </a:gdLst>
            <a:ahLst/>
            <a:cxnLst>
              <a:cxn ang="T8">
                <a:pos x="T0" y="T1"/>
              </a:cxn>
              <a:cxn ang="T9">
                <a:pos x="T2" y="T3"/>
              </a:cxn>
              <a:cxn ang="T10">
                <a:pos x="T4" y="T5"/>
              </a:cxn>
              <a:cxn ang="T11">
                <a:pos x="T6" y="T7"/>
              </a:cxn>
            </a:cxnLst>
            <a:rect l="T12" t="T13" r="T14" b="T15"/>
            <a:pathLst>
              <a:path w="1244906" h="572878">
                <a:moveTo>
                  <a:pt x="0" y="418641"/>
                </a:moveTo>
                <a:lnTo>
                  <a:pt x="1244906" y="0"/>
                </a:lnTo>
                <a:lnTo>
                  <a:pt x="561861" y="572878"/>
                </a:lnTo>
                <a:lnTo>
                  <a:pt x="0" y="418641"/>
                </a:lnTo>
                <a:close/>
              </a:path>
            </a:pathLst>
          </a:custGeom>
          <a:solidFill>
            <a:srgbClr val="F26F2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70" name="任意多边形 41"/>
          <p:cNvSpPr>
            <a:spLocks noChangeArrowheads="1"/>
          </p:cNvSpPr>
          <p:nvPr userDrawn="1"/>
        </p:nvSpPr>
        <p:spPr bwMode="auto">
          <a:xfrm>
            <a:off x="2263775" y="1585913"/>
            <a:ext cx="900113" cy="669925"/>
          </a:xfrm>
          <a:custGeom>
            <a:avLst/>
            <a:gdLst>
              <a:gd name="T0" fmla="*/ 176269 w 1200838"/>
              <a:gd name="T1" fmla="*/ 0 h 892366"/>
              <a:gd name="T2" fmla="*/ 0 w 1200838"/>
              <a:gd name="T3" fmla="*/ 892366 h 892366"/>
              <a:gd name="T4" fmla="*/ 1200838 w 1200838"/>
              <a:gd name="T5" fmla="*/ 154236 h 892366"/>
              <a:gd name="T6" fmla="*/ 176269 w 1200838"/>
              <a:gd name="T7" fmla="*/ 0 h 892366"/>
              <a:gd name="T8" fmla="*/ 0 60000 65536"/>
              <a:gd name="T9" fmla="*/ 0 60000 65536"/>
              <a:gd name="T10" fmla="*/ 0 60000 65536"/>
              <a:gd name="T11" fmla="*/ 0 60000 65536"/>
              <a:gd name="T12" fmla="*/ 0 w 1200838"/>
              <a:gd name="T13" fmla="*/ 0 h 892366"/>
              <a:gd name="T14" fmla="*/ 1200838 w 1200838"/>
              <a:gd name="T15" fmla="*/ 892366 h 892366"/>
            </a:gdLst>
            <a:ahLst/>
            <a:cxnLst>
              <a:cxn ang="T8">
                <a:pos x="T0" y="T1"/>
              </a:cxn>
              <a:cxn ang="T9">
                <a:pos x="T2" y="T3"/>
              </a:cxn>
              <a:cxn ang="T10">
                <a:pos x="T4" y="T5"/>
              </a:cxn>
              <a:cxn ang="T11">
                <a:pos x="T6" y="T7"/>
              </a:cxn>
            </a:cxnLst>
            <a:rect l="T12" t="T13" r="T14" b="T15"/>
            <a:pathLst>
              <a:path w="1200838" h="892366">
                <a:moveTo>
                  <a:pt x="176269" y="0"/>
                </a:moveTo>
                <a:lnTo>
                  <a:pt x="0" y="892366"/>
                </a:lnTo>
                <a:lnTo>
                  <a:pt x="1200838" y="154236"/>
                </a:lnTo>
                <a:lnTo>
                  <a:pt x="176269" y="0"/>
                </a:lnTo>
                <a:close/>
              </a:path>
            </a:pathLst>
          </a:custGeom>
          <a:solidFill>
            <a:srgbClr val="F8A11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71" name="任意多边形 42"/>
          <p:cNvSpPr>
            <a:spLocks noChangeArrowheads="1"/>
          </p:cNvSpPr>
          <p:nvPr userDrawn="1"/>
        </p:nvSpPr>
        <p:spPr bwMode="auto">
          <a:xfrm>
            <a:off x="1892300" y="1644650"/>
            <a:ext cx="495300" cy="603250"/>
          </a:xfrm>
          <a:custGeom>
            <a:avLst/>
            <a:gdLst>
              <a:gd name="T0" fmla="*/ 0 w 661012"/>
              <a:gd name="T1" fmla="*/ 110168 h 804231"/>
              <a:gd name="T2" fmla="*/ 661012 w 661012"/>
              <a:gd name="T3" fmla="*/ 0 h 804231"/>
              <a:gd name="T4" fmla="*/ 495759 w 661012"/>
              <a:gd name="T5" fmla="*/ 804231 h 804231"/>
              <a:gd name="T6" fmla="*/ 0 w 661012"/>
              <a:gd name="T7" fmla="*/ 110168 h 804231"/>
              <a:gd name="T8" fmla="*/ 0 60000 65536"/>
              <a:gd name="T9" fmla="*/ 0 60000 65536"/>
              <a:gd name="T10" fmla="*/ 0 60000 65536"/>
              <a:gd name="T11" fmla="*/ 0 60000 65536"/>
              <a:gd name="T12" fmla="*/ 0 w 661012"/>
              <a:gd name="T13" fmla="*/ 0 h 804231"/>
              <a:gd name="T14" fmla="*/ 661012 w 661012"/>
              <a:gd name="T15" fmla="*/ 804231 h 804231"/>
            </a:gdLst>
            <a:ahLst/>
            <a:cxnLst>
              <a:cxn ang="T8">
                <a:pos x="T0" y="T1"/>
              </a:cxn>
              <a:cxn ang="T9">
                <a:pos x="T2" y="T3"/>
              </a:cxn>
              <a:cxn ang="T10">
                <a:pos x="T4" y="T5"/>
              </a:cxn>
              <a:cxn ang="T11">
                <a:pos x="T6" y="T7"/>
              </a:cxn>
            </a:cxnLst>
            <a:rect l="T12" t="T13" r="T14" b="T15"/>
            <a:pathLst>
              <a:path w="661012" h="804231">
                <a:moveTo>
                  <a:pt x="0" y="110168"/>
                </a:moveTo>
                <a:lnTo>
                  <a:pt x="661012" y="0"/>
                </a:lnTo>
                <a:lnTo>
                  <a:pt x="495759" y="804231"/>
                </a:lnTo>
                <a:lnTo>
                  <a:pt x="0" y="110168"/>
                </a:lnTo>
                <a:close/>
              </a:path>
            </a:pathLst>
          </a:custGeom>
          <a:solidFill>
            <a:srgbClr val="F2592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72" name="任意多边形 43"/>
          <p:cNvSpPr>
            <a:spLocks noChangeArrowheads="1"/>
          </p:cNvSpPr>
          <p:nvPr userDrawn="1"/>
        </p:nvSpPr>
        <p:spPr bwMode="auto">
          <a:xfrm>
            <a:off x="2279650" y="1676400"/>
            <a:ext cx="901700" cy="571500"/>
          </a:xfrm>
          <a:custGeom>
            <a:avLst/>
            <a:gdLst>
              <a:gd name="T0" fmla="*/ 1134737 w 1134737"/>
              <a:gd name="T1" fmla="*/ 0 h 672029"/>
              <a:gd name="T2" fmla="*/ 1046602 w 1134737"/>
              <a:gd name="T3" fmla="*/ 374573 h 672029"/>
              <a:gd name="T4" fmla="*/ 0 w 1134737"/>
              <a:gd name="T5" fmla="*/ 672029 h 672029"/>
              <a:gd name="T6" fmla="*/ 1134737 w 1134737"/>
              <a:gd name="T7" fmla="*/ 0 h 672029"/>
              <a:gd name="T8" fmla="*/ 0 60000 65536"/>
              <a:gd name="T9" fmla="*/ 0 60000 65536"/>
              <a:gd name="T10" fmla="*/ 0 60000 65536"/>
              <a:gd name="T11" fmla="*/ 0 60000 65536"/>
              <a:gd name="T12" fmla="*/ 0 w 1134737"/>
              <a:gd name="T13" fmla="*/ 0 h 672029"/>
              <a:gd name="T14" fmla="*/ 1134737 w 1134737"/>
              <a:gd name="T15" fmla="*/ 672029 h 672029"/>
            </a:gdLst>
            <a:ahLst/>
            <a:cxnLst>
              <a:cxn ang="T8">
                <a:pos x="T0" y="T1"/>
              </a:cxn>
              <a:cxn ang="T9">
                <a:pos x="T2" y="T3"/>
              </a:cxn>
              <a:cxn ang="T10">
                <a:pos x="T4" y="T5"/>
              </a:cxn>
              <a:cxn ang="T11">
                <a:pos x="T6" y="T7"/>
              </a:cxn>
            </a:cxnLst>
            <a:rect l="T12" t="T13" r="T14" b="T15"/>
            <a:pathLst>
              <a:path w="1134737" h="672029">
                <a:moveTo>
                  <a:pt x="1134737" y="0"/>
                </a:moveTo>
                <a:lnTo>
                  <a:pt x="1046602" y="374573"/>
                </a:lnTo>
                <a:lnTo>
                  <a:pt x="0" y="672029"/>
                </a:lnTo>
                <a:lnTo>
                  <a:pt x="1134737" y="0"/>
                </a:lnTo>
                <a:close/>
              </a:path>
            </a:pathLst>
          </a:custGeom>
          <a:solidFill>
            <a:srgbClr val="270C0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73" name="任意多边形 45"/>
          <p:cNvSpPr>
            <a:spLocks noChangeArrowheads="1"/>
          </p:cNvSpPr>
          <p:nvPr userDrawn="1"/>
        </p:nvSpPr>
        <p:spPr bwMode="auto">
          <a:xfrm>
            <a:off x="3173413" y="1476375"/>
            <a:ext cx="982662" cy="231775"/>
          </a:xfrm>
          <a:custGeom>
            <a:avLst/>
            <a:gdLst>
              <a:gd name="T0" fmla="*/ 0 w 1311007"/>
              <a:gd name="T1" fmla="*/ 264405 h 264405"/>
              <a:gd name="T2" fmla="*/ 462709 w 1311007"/>
              <a:gd name="T3" fmla="*/ 0 h 264405"/>
              <a:gd name="T4" fmla="*/ 1311007 w 1311007"/>
              <a:gd name="T5" fmla="*/ 220337 h 264405"/>
              <a:gd name="T6" fmla="*/ 0 w 1311007"/>
              <a:gd name="T7" fmla="*/ 264405 h 264405"/>
              <a:gd name="T8" fmla="*/ 0 60000 65536"/>
              <a:gd name="T9" fmla="*/ 0 60000 65536"/>
              <a:gd name="T10" fmla="*/ 0 60000 65536"/>
              <a:gd name="T11" fmla="*/ 0 60000 65536"/>
              <a:gd name="T12" fmla="*/ 0 w 1311007"/>
              <a:gd name="T13" fmla="*/ 0 h 264405"/>
              <a:gd name="T14" fmla="*/ 1311007 w 1311007"/>
              <a:gd name="T15" fmla="*/ 264405 h 264405"/>
            </a:gdLst>
            <a:ahLst/>
            <a:cxnLst>
              <a:cxn ang="T8">
                <a:pos x="T0" y="T1"/>
              </a:cxn>
              <a:cxn ang="T9">
                <a:pos x="T2" y="T3"/>
              </a:cxn>
              <a:cxn ang="T10">
                <a:pos x="T4" y="T5"/>
              </a:cxn>
              <a:cxn ang="T11">
                <a:pos x="T6" y="T7"/>
              </a:cxn>
            </a:cxnLst>
            <a:rect l="T12" t="T13" r="T14" b="T15"/>
            <a:pathLst>
              <a:path w="1311007" h="264405">
                <a:moveTo>
                  <a:pt x="0" y="264405"/>
                </a:moveTo>
                <a:lnTo>
                  <a:pt x="462709" y="0"/>
                </a:lnTo>
                <a:lnTo>
                  <a:pt x="1311007" y="220337"/>
                </a:lnTo>
                <a:lnTo>
                  <a:pt x="0" y="264405"/>
                </a:lnTo>
                <a:close/>
              </a:path>
            </a:pathLst>
          </a:custGeom>
          <a:solidFill>
            <a:srgbClr val="EC254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74" name="任意多边形 49"/>
          <p:cNvSpPr>
            <a:spLocks noChangeArrowheads="1"/>
          </p:cNvSpPr>
          <p:nvPr userDrawn="1"/>
        </p:nvSpPr>
        <p:spPr bwMode="auto">
          <a:xfrm>
            <a:off x="2263775" y="2065338"/>
            <a:ext cx="958850" cy="223837"/>
          </a:xfrm>
          <a:custGeom>
            <a:avLst/>
            <a:gdLst>
              <a:gd name="T0" fmla="*/ 0 w 1277956"/>
              <a:gd name="T1" fmla="*/ 220337 h 286438"/>
              <a:gd name="T2" fmla="*/ 572877 w 1277956"/>
              <a:gd name="T3" fmla="*/ 286438 h 286438"/>
              <a:gd name="T4" fmla="*/ 1277956 w 1277956"/>
              <a:gd name="T5" fmla="*/ 0 h 286438"/>
              <a:gd name="T6" fmla="*/ 0 w 1277956"/>
              <a:gd name="T7" fmla="*/ 220337 h 286438"/>
              <a:gd name="T8" fmla="*/ 0 60000 65536"/>
              <a:gd name="T9" fmla="*/ 0 60000 65536"/>
              <a:gd name="T10" fmla="*/ 0 60000 65536"/>
              <a:gd name="T11" fmla="*/ 0 60000 65536"/>
              <a:gd name="T12" fmla="*/ 0 w 1277956"/>
              <a:gd name="T13" fmla="*/ 0 h 286438"/>
              <a:gd name="T14" fmla="*/ 1277956 w 1277956"/>
              <a:gd name="T15" fmla="*/ 286438 h 286438"/>
            </a:gdLst>
            <a:ahLst/>
            <a:cxnLst>
              <a:cxn ang="T8">
                <a:pos x="T0" y="T1"/>
              </a:cxn>
              <a:cxn ang="T9">
                <a:pos x="T2" y="T3"/>
              </a:cxn>
              <a:cxn ang="T10">
                <a:pos x="T4" y="T5"/>
              </a:cxn>
              <a:cxn ang="T11">
                <a:pos x="T6" y="T7"/>
              </a:cxn>
            </a:cxnLst>
            <a:rect l="T12" t="T13" r="T14" b="T15"/>
            <a:pathLst>
              <a:path w="1277956" h="286438">
                <a:moveTo>
                  <a:pt x="0" y="220337"/>
                </a:moveTo>
                <a:lnTo>
                  <a:pt x="572877" y="286438"/>
                </a:lnTo>
                <a:lnTo>
                  <a:pt x="1277956" y="0"/>
                </a:lnTo>
                <a:lnTo>
                  <a:pt x="0" y="220337"/>
                </a:lnTo>
                <a:close/>
              </a:path>
            </a:pathLst>
          </a:custGeom>
          <a:solidFill>
            <a:srgbClr val="F3AD1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75" name="任意多边形 51"/>
          <p:cNvSpPr>
            <a:spLocks noChangeArrowheads="1"/>
          </p:cNvSpPr>
          <p:nvPr userDrawn="1"/>
        </p:nvSpPr>
        <p:spPr bwMode="auto">
          <a:xfrm>
            <a:off x="2255838" y="2279650"/>
            <a:ext cx="768350" cy="1092200"/>
          </a:xfrm>
          <a:custGeom>
            <a:avLst/>
            <a:gdLst>
              <a:gd name="T0" fmla="*/ 561860 w 1002534"/>
              <a:gd name="T1" fmla="*/ 0 h 1454227"/>
              <a:gd name="T2" fmla="*/ 1002534 w 1002534"/>
              <a:gd name="T3" fmla="*/ 66101 h 1454227"/>
              <a:gd name="T4" fmla="*/ 0 w 1002534"/>
              <a:gd name="T5" fmla="*/ 1454227 h 1454227"/>
              <a:gd name="T6" fmla="*/ 561860 w 1002534"/>
              <a:gd name="T7" fmla="*/ 0 h 1454227"/>
              <a:gd name="T8" fmla="*/ 0 60000 65536"/>
              <a:gd name="T9" fmla="*/ 0 60000 65536"/>
              <a:gd name="T10" fmla="*/ 0 60000 65536"/>
              <a:gd name="T11" fmla="*/ 0 60000 65536"/>
              <a:gd name="T12" fmla="*/ 0 w 1002534"/>
              <a:gd name="T13" fmla="*/ 0 h 1454227"/>
              <a:gd name="T14" fmla="*/ 1002534 w 1002534"/>
              <a:gd name="T15" fmla="*/ 1454227 h 1454227"/>
            </a:gdLst>
            <a:ahLst/>
            <a:cxnLst>
              <a:cxn ang="T8">
                <a:pos x="T0" y="T1"/>
              </a:cxn>
              <a:cxn ang="T9">
                <a:pos x="T2" y="T3"/>
              </a:cxn>
              <a:cxn ang="T10">
                <a:pos x="T4" y="T5"/>
              </a:cxn>
              <a:cxn ang="T11">
                <a:pos x="T6" y="T7"/>
              </a:cxn>
            </a:cxnLst>
            <a:rect l="T12" t="T13" r="T14" b="T15"/>
            <a:pathLst>
              <a:path w="1002534" h="1454227">
                <a:moveTo>
                  <a:pt x="561860" y="0"/>
                </a:moveTo>
                <a:lnTo>
                  <a:pt x="1002534" y="66101"/>
                </a:lnTo>
                <a:lnTo>
                  <a:pt x="0" y="1454227"/>
                </a:lnTo>
                <a:lnTo>
                  <a:pt x="561860" y="0"/>
                </a:lnTo>
                <a:close/>
              </a:path>
            </a:pathLst>
          </a:custGeom>
          <a:solidFill>
            <a:srgbClr val="F1595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76" name="任意多边形 52"/>
          <p:cNvSpPr>
            <a:spLocks noChangeArrowheads="1"/>
          </p:cNvSpPr>
          <p:nvPr userDrawn="1"/>
        </p:nvSpPr>
        <p:spPr bwMode="auto">
          <a:xfrm>
            <a:off x="2247900" y="2330450"/>
            <a:ext cx="1354138" cy="1057275"/>
          </a:xfrm>
          <a:custGeom>
            <a:avLst/>
            <a:gdLst>
              <a:gd name="T0" fmla="*/ 1013552 w 1817783"/>
              <a:gd name="T1" fmla="*/ 0 h 1443209"/>
              <a:gd name="T2" fmla="*/ 1817783 w 1817783"/>
              <a:gd name="T3" fmla="*/ 132202 h 1443209"/>
              <a:gd name="T4" fmla="*/ 0 w 1817783"/>
              <a:gd name="T5" fmla="*/ 1443209 h 1443209"/>
              <a:gd name="T6" fmla="*/ 1013552 w 1817783"/>
              <a:gd name="T7" fmla="*/ 0 h 1443209"/>
              <a:gd name="T8" fmla="*/ 0 60000 65536"/>
              <a:gd name="T9" fmla="*/ 0 60000 65536"/>
              <a:gd name="T10" fmla="*/ 0 60000 65536"/>
              <a:gd name="T11" fmla="*/ 0 60000 65536"/>
              <a:gd name="T12" fmla="*/ 0 w 1817783"/>
              <a:gd name="T13" fmla="*/ 0 h 1443209"/>
              <a:gd name="T14" fmla="*/ 1817783 w 1817783"/>
              <a:gd name="T15" fmla="*/ 1443209 h 1443209"/>
            </a:gdLst>
            <a:ahLst/>
            <a:cxnLst>
              <a:cxn ang="T8">
                <a:pos x="T0" y="T1"/>
              </a:cxn>
              <a:cxn ang="T9">
                <a:pos x="T2" y="T3"/>
              </a:cxn>
              <a:cxn ang="T10">
                <a:pos x="T4" y="T5"/>
              </a:cxn>
              <a:cxn ang="T11">
                <a:pos x="T6" y="T7"/>
              </a:cxn>
            </a:cxnLst>
            <a:rect l="T12" t="T13" r="T14" b="T15"/>
            <a:pathLst>
              <a:path w="1817783" h="1443209">
                <a:moveTo>
                  <a:pt x="1013552" y="0"/>
                </a:moveTo>
                <a:lnTo>
                  <a:pt x="1817783" y="132202"/>
                </a:lnTo>
                <a:lnTo>
                  <a:pt x="0" y="1443209"/>
                </a:lnTo>
                <a:lnTo>
                  <a:pt x="1013552" y="0"/>
                </a:lnTo>
                <a:close/>
              </a:path>
            </a:pathLst>
          </a:custGeom>
          <a:solidFill>
            <a:srgbClr val="128B9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77" name="任意多边形 57"/>
          <p:cNvSpPr>
            <a:spLocks noChangeArrowheads="1"/>
          </p:cNvSpPr>
          <p:nvPr userDrawn="1"/>
        </p:nvSpPr>
        <p:spPr bwMode="auto">
          <a:xfrm>
            <a:off x="3106738" y="2413000"/>
            <a:ext cx="1023937" cy="355600"/>
          </a:xfrm>
          <a:custGeom>
            <a:avLst/>
            <a:gdLst>
              <a:gd name="T0" fmla="*/ 638978 w 1366092"/>
              <a:gd name="T1" fmla="*/ 0 h 473726"/>
              <a:gd name="T2" fmla="*/ 0 w 1366092"/>
              <a:gd name="T3" fmla="*/ 473726 h 473726"/>
              <a:gd name="T4" fmla="*/ 1366092 w 1366092"/>
              <a:gd name="T5" fmla="*/ 121186 h 473726"/>
              <a:gd name="T6" fmla="*/ 638978 w 1366092"/>
              <a:gd name="T7" fmla="*/ 0 h 473726"/>
              <a:gd name="T8" fmla="*/ 0 60000 65536"/>
              <a:gd name="T9" fmla="*/ 0 60000 65536"/>
              <a:gd name="T10" fmla="*/ 0 60000 65536"/>
              <a:gd name="T11" fmla="*/ 0 60000 65536"/>
              <a:gd name="T12" fmla="*/ 0 w 1366092"/>
              <a:gd name="T13" fmla="*/ 0 h 473726"/>
              <a:gd name="T14" fmla="*/ 1366092 w 1366092"/>
              <a:gd name="T15" fmla="*/ 473726 h 473726"/>
            </a:gdLst>
            <a:ahLst/>
            <a:cxnLst>
              <a:cxn ang="T8">
                <a:pos x="T0" y="T1"/>
              </a:cxn>
              <a:cxn ang="T9">
                <a:pos x="T2" y="T3"/>
              </a:cxn>
              <a:cxn ang="T10">
                <a:pos x="T4" y="T5"/>
              </a:cxn>
              <a:cxn ang="T11">
                <a:pos x="T6" y="T7"/>
              </a:cxn>
            </a:cxnLst>
            <a:rect l="T12" t="T13" r="T14" b="T15"/>
            <a:pathLst>
              <a:path w="1366092" h="473726">
                <a:moveTo>
                  <a:pt x="638978" y="0"/>
                </a:moveTo>
                <a:lnTo>
                  <a:pt x="0" y="473726"/>
                </a:lnTo>
                <a:lnTo>
                  <a:pt x="1366092" y="121186"/>
                </a:lnTo>
                <a:lnTo>
                  <a:pt x="638978" y="0"/>
                </a:lnTo>
                <a:close/>
              </a:path>
            </a:pathLst>
          </a:custGeom>
          <a:solidFill>
            <a:srgbClr val="15688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78" name="任意多边形 59"/>
          <p:cNvSpPr>
            <a:spLocks noChangeArrowheads="1"/>
          </p:cNvSpPr>
          <p:nvPr userDrawn="1"/>
        </p:nvSpPr>
        <p:spPr bwMode="auto">
          <a:xfrm>
            <a:off x="3106738" y="2759075"/>
            <a:ext cx="925512" cy="265113"/>
          </a:xfrm>
          <a:custGeom>
            <a:avLst/>
            <a:gdLst>
              <a:gd name="T0" fmla="*/ 0 w 1233889"/>
              <a:gd name="T1" fmla="*/ 0 h 352540"/>
              <a:gd name="T2" fmla="*/ 947451 w 1233889"/>
              <a:gd name="T3" fmla="*/ 352540 h 352540"/>
              <a:gd name="T4" fmla="*/ 1233889 w 1233889"/>
              <a:gd name="T5" fmla="*/ 44068 h 352540"/>
              <a:gd name="T6" fmla="*/ 0 w 1233889"/>
              <a:gd name="T7" fmla="*/ 0 h 352540"/>
              <a:gd name="T8" fmla="*/ 0 60000 65536"/>
              <a:gd name="T9" fmla="*/ 0 60000 65536"/>
              <a:gd name="T10" fmla="*/ 0 60000 65536"/>
              <a:gd name="T11" fmla="*/ 0 60000 65536"/>
              <a:gd name="T12" fmla="*/ 0 w 1233889"/>
              <a:gd name="T13" fmla="*/ 0 h 352540"/>
              <a:gd name="T14" fmla="*/ 1233889 w 1233889"/>
              <a:gd name="T15" fmla="*/ 352540 h 352540"/>
            </a:gdLst>
            <a:ahLst/>
            <a:cxnLst>
              <a:cxn ang="T8">
                <a:pos x="T0" y="T1"/>
              </a:cxn>
              <a:cxn ang="T9">
                <a:pos x="T2" y="T3"/>
              </a:cxn>
              <a:cxn ang="T10">
                <a:pos x="T4" y="T5"/>
              </a:cxn>
              <a:cxn ang="T11">
                <a:pos x="T6" y="T7"/>
              </a:cxn>
            </a:cxnLst>
            <a:rect l="T12" t="T13" r="T14" b="T15"/>
            <a:pathLst>
              <a:path w="1233889" h="352540">
                <a:moveTo>
                  <a:pt x="0" y="0"/>
                </a:moveTo>
                <a:lnTo>
                  <a:pt x="947451" y="352540"/>
                </a:lnTo>
                <a:lnTo>
                  <a:pt x="1233889" y="44068"/>
                </a:lnTo>
                <a:lnTo>
                  <a:pt x="0" y="0"/>
                </a:lnTo>
                <a:close/>
              </a:path>
            </a:pathLst>
          </a:custGeom>
          <a:solidFill>
            <a:srgbClr val="155D6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79" name="任意多边形 60"/>
          <p:cNvSpPr>
            <a:spLocks noChangeArrowheads="1"/>
          </p:cNvSpPr>
          <p:nvPr userDrawn="1"/>
        </p:nvSpPr>
        <p:spPr bwMode="auto">
          <a:xfrm>
            <a:off x="3883025" y="2495550"/>
            <a:ext cx="288925" cy="619125"/>
          </a:xfrm>
          <a:custGeom>
            <a:avLst/>
            <a:gdLst>
              <a:gd name="T0" fmla="*/ 0 w 385590"/>
              <a:gd name="T1" fmla="*/ 99152 h 826265"/>
              <a:gd name="T2" fmla="*/ 363556 w 385590"/>
              <a:gd name="T3" fmla="*/ 826265 h 826265"/>
              <a:gd name="T4" fmla="*/ 385590 w 385590"/>
              <a:gd name="T5" fmla="*/ 0 h 826265"/>
              <a:gd name="T6" fmla="*/ 0 w 385590"/>
              <a:gd name="T7" fmla="*/ 99152 h 826265"/>
              <a:gd name="T8" fmla="*/ 0 60000 65536"/>
              <a:gd name="T9" fmla="*/ 0 60000 65536"/>
              <a:gd name="T10" fmla="*/ 0 60000 65536"/>
              <a:gd name="T11" fmla="*/ 0 60000 65536"/>
              <a:gd name="T12" fmla="*/ 0 w 385590"/>
              <a:gd name="T13" fmla="*/ 0 h 826265"/>
              <a:gd name="T14" fmla="*/ 385590 w 385590"/>
              <a:gd name="T15" fmla="*/ 826265 h 826265"/>
            </a:gdLst>
            <a:ahLst/>
            <a:cxnLst>
              <a:cxn ang="T8">
                <a:pos x="T0" y="T1"/>
              </a:cxn>
              <a:cxn ang="T9">
                <a:pos x="T2" y="T3"/>
              </a:cxn>
              <a:cxn ang="T10">
                <a:pos x="T4" y="T5"/>
              </a:cxn>
              <a:cxn ang="T11">
                <a:pos x="T6" y="T7"/>
              </a:cxn>
            </a:cxnLst>
            <a:rect l="T12" t="T13" r="T14" b="T15"/>
            <a:pathLst>
              <a:path w="385590" h="826265">
                <a:moveTo>
                  <a:pt x="0" y="99152"/>
                </a:moveTo>
                <a:lnTo>
                  <a:pt x="363556" y="826265"/>
                </a:lnTo>
                <a:lnTo>
                  <a:pt x="385590" y="0"/>
                </a:lnTo>
                <a:lnTo>
                  <a:pt x="0" y="99152"/>
                </a:lnTo>
                <a:close/>
              </a:path>
            </a:pathLst>
          </a:custGeom>
          <a:solidFill>
            <a:srgbClr val="0FB4C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80" name="任意多边形 62"/>
          <p:cNvSpPr>
            <a:spLocks noChangeArrowheads="1"/>
          </p:cNvSpPr>
          <p:nvPr userDrawn="1"/>
        </p:nvSpPr>
        <p:spPr bwMode="auto">
          <a:xfrm>
            <a:off x="4148138" y="2487613"/>
            <a:ext cx="188912" cy="636587"/>
          </a:xfrm>
          <a:custGeom>
            <a:avLst/>
            <a:gdLst>
              <a:gd name="T0" fmla="*/ 22034 w 253388"/>
              <a:gd name="T1" fmla="*/ 0 h 848299"/>
              <a:gd name="T2" fmla="*/ 0 w 253388"/>
              <a:gd name="T3" fmla="*/ 848299 h 848299"/>
              <a:gd name="T4" fmla="*/ 253388 w 253388"/>
              <a:gd name="T5" fmla="*/ 539827 h 848299"/>
              <a:gd name="T6" fmla="*/ 22034 w 253388"/>
              <a:gd name="T7" fmla="*/ 0 h 848299"/>
              <a:gd name="T8" fmla="*/ 0 60000 65536"/>
              <a:gd name="T9" fmla="*/ 0 60000 65536"/>
              <a:gd name="T10" fmla="*/ 0 60000 65536"/>
              <a:gd name="T11" fmla="*/ 0 60000 65536"/>
              <a:gd name="T12" fmla="*/ 0 w 253388"/>
              <a:gd name="T13" fmla="*/ 0 h 848299"/>
              <a:gd name="T14" fmla="*/ 253388 w 253388"/>
              <a:gd name="T15" fmla="*/ 848299 h 848299"/>
            </a:gdLst>
            <a:ahLst/>
            <a:cxnLst>
              <a:cxn ang="T8">
                <a:pos x="T0" y="T1"/>
              </a:cxn>
              <a:cxn ang="T9">
                <a:pos x="T2" y="T3"/>
              </a:cxn>
              <a:cxn ang="T10">
                <a:pos x="T4" y="T5"/>
              </a:cxn>
              <a:cxn ang="T11">
                <a:pos x="T6" y="T7"/>
              </a:cxn>
            </a:cxnLst>
            <a:rect l="T12" t="T13" r="T14" b="T15"/>
            <a:pathLst>
              <a:path w="253388" h="848299">
                <a:moveTo>
                  <a:pt x="22034" y="0"/>
                </a:moveTo>
                <a:lnTo>
                  <a:pt x="0" y="848299"/>
                </a:lnTo>
                <a:lnTo>
                  <a:pt x="253388" y="539827"/>
                </a:lnTo>
                <a:lnTo>
                  <a:pt x="22034" y="0"/>
                </a:lnTo>
                <a:close/>
              </a:path>
            </a:pathLst>
          </a:custGeom>
          <a:solidFill>
            <a:srgbClr val="09738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81" name="任意多边形 63"/>
          <p:cNvSpPr>
            <a:spLocks noChangeArrowheads="1"/>
          </p:cNvSpPr>
          <p:nvPr userDrawn="1"/>
        </p:nvSpPr>
        <p:spPr bwMode="auto">
          <a:xfrm>
            <a:off x="4171950" y="2495550"/>
            <a:ext cx="488950" cy="412750"/>
          </a:xfrm>
          <a:custGeom>
            <a:avLst/>
            <a:gdLst>
              <a:gd name="T0" fmla="*/ 0 w 649995"/>
              <a:gd name="T1" fmla="*/ 0 h 550843"/>
              <a:gd name="T2" fmla="*/ 209320 w 649995"/>
              <a:gd name="T3" fmla="*/ 550843 h 550843"/>
              <a:gd name="T4" fmla="*/ 649995 w 649995"/>
              <a:gd name="T5" fmla="*/ 88135 h 550843"/>
              <a:gd name="T6" fmla="*/ 0 w 649995"/>
              <a:gd name="T7" fmla="*/ 0 h 550843"/>
              <a:gd name="T8" fmla="*/ 0 60000 65536"/>
              <a:gd name="T9" fmla="*/ 0 60000 65536"/>
              <a:gd name="T10" fmla="*/ 0 60000 65536"/>
              <a:gd name="T11" fmla="*/ 0 60000 65536"/>
              <a:gd name="T12" fmla="*/ 0 w 649995"/>
              <a:gd name="T13" fmla="*/ 0 h 550843"/>
              <a:gd name="T14" fmla="*/ 649995 w 649995"/>
              <a:gd name="T15" fmla="*/ 550843 h 550843"/>
            </a:gdLst>
            <a:ahLst/>
            <a:cxnLst>
              <a:cxn ang="T8">
                <a:pos x="T0" y="T1"/>
              </a:cxn>
              <a:cxn ang="T9">
                <a:pos x="T2" y="T3"/>
              </a:cxn>
              <a:cxn ang="T10">
                <a:pos x="T4" y="T5"/>
              </a:cxn>
              <a:cxn ang="T11">
                <a:pos x="T6" y="T7"/>
              </a:cxn>
            </a:cxnLst>
            <a:rect l="T12" t="T13" r="T14" b="T15"/>
            <a:pathLst>
              <a:path w="649995" h="550843">
                <a:moveTo>
                  <a:pt x="0" y="0"/>
                </a:moveTo>
                <a:lnTo>
                  <a:pt x="209320" y="550843"/>
                </a:lnTo>
                <a:lnTo>
                  <a:pt x="649995" y="88135"/>
                </a:lnTo>
                <a:lnTo>
                  <a:pt x="0" y="0"/>
                </a:lnTo>
                <a:close/>
              </a:path>
            </a:pathLst>
          </a:custGeom>
          <a:solidFill>
            <a:srgbClr val="13B1C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82" name="任意多边形 64"/>
          <p:cNvSpPr>
            <a:spLocks noChangeArrowheads="1"/>
          </p:cNvSpPr>
          <p:nvPr userDrawn="1"/>
        </p:nvSpPr>
        <p:spPr bwMode="auto">
          <a:xfrm>
            <a:off x="4346575" y="2552700"/>
            <a:ext cx="1073150" cy="322263"/>
          </a:xfrm>
          <a:custGeom>
            <a:avLst/>
            <a:gdLst>
              <a:gd name="T0" fmla="*/ 0 w 1432193"/>
              <a:gd name="T1" fmla="*/ 429658 h 429658"/>
              <a:gd name="T2" fmla="*/ 1432193 w 1432193"/>
              <a:gd name="T3" fmla="*/ 297455 h 429658"/>
              <a:gd name="T4" fmla="*/ 429658 w 1432193"/>
              <a:gd name="T5" fmla="*/ 0 h 429658"/>
              <a:gd name="T6" fmla="*/ 0 w 1432193"/>
              <a:gd name="T7" fmla="*/ 429658 h 429658"/>
              <a:gd name="T8" fmla="*/ 0 60000 65536"/>
              <a:gd name="T9" fmla="*/ 0 60000 65536"/>
              <a:gd name="T10" fmla="*/ 0 60000 65536"/>
              <a:gd name="T11" fmla="*/ 0 60000 65536"/>
              <a:gd name="T12" fmla="*/ 0 w 1432193"/>
              <a:gd name="T13" fmla="*/ 0 h 429658"/>
              <a:gd name="T14" fmla="*/ 1432193 w 1432193"/>
              <a:gd name="T15" fmla="*/ 429658 h 429658"/>
            </a:gdLst>
            <a:ahLst/>
            <a:cxnLst>
              <a:cxn ang="T8">
                <a:pos x="T0" y="T1"/>
              </a:cxn>
              <a:cxn ang="T9">
                <a:pos x="T2" y="T3"/>
              </a:cxn>
              <a:cxn ang="T10">
                <a:pos x="T4" y="T5"/>
              </a:cxn>
              <a:cxn ang="T11">
                <a:pos x="T6" y="T7"/>
              </a:cxn>
            </a:cxnLst>
            <a:rect l="T12" t="T13" r="T14" b="T15"/>
            <a:pathLst>
              <a:path w="1432193" h="429658">
                <a:moveTo>
                  <a:pt x="0" y="429658"/>
                </a:moveTo>
                <a:lnTo>
                  <a:pt x="1432193" y="297455"/>
                </a:lnTo>
                <a:lnTo>
                  <a:pt x="429658" y="0"/>
                </a:lnTo>
                <a:lnTo>
                  <a:pt x="0" y="429658"/>
                </a:lnTo>
                <a:close/>
              </a:path>
            </a:pathLst>
          </a:custGeom>
          <a:solidFill>
            <a:srgbClr val="0E78A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83" name="任意多边形 68"/>
          <p:cNvSpPr>
            <a:spLocks noChangeArrowheads="1"/>
          </p:cNvSpPr>
          <p:nvPr userDrawn="1"/>
        </p:nvSpPr>
        <p:spPr bwMode="auto">
          <a:xfrm>
            <a:off x="4568825" y="2817813"/>
            <a:ext cx="373063" cy="115887"/>
          </a:xfrm>
          <a:custGeom>
            <a:avLst/>
            <a:gdLst>
              <a:gd name="T0" fmla="*/ 0 w 495759"/>
              <a:gd name="T1" fmla="*/ 22034 h 154237"/>
              <a:gd name="T2" fmla="*/ 88135 w 495759"/>
              <a:gd name="T3" fmla="*/ 154237 h 154237"/>
              <a:gd name="T4" fmla="*/ 495759 w 495759"/>
              <a:gd name="T5" fmla="*/ 0 h 154237"/>
              <a:gd name="T6" fmla="*/ 0 w 495759"/>
              <a:gd name="T7" fmla="*/ 22034 h 154237"/>
              <a:gd name="T8" fmla="*/ 0 60000 65536"/>
              <a:gd name="T9" fmla="*/ 0 60000 65536"/>
              <a:gd name="T10" fmla="*/ 0 60000 65536"/>
              <a:gd name="T11" fmla="*/ 0 60000 65536"/>
              <a:gd name="T12" fmla="*/ 0 w 495759"/>
              <a:gd name="T13" fmla="*/ 0 h 154237"/>
              <a:gd name="T14" fmla="*/ 495759 w 495759"/>
              <a:gd name="T15" fmla="*/ 154237 h 154237"/>
            </a:gdLst>
            <a:ahLst/>
            <a:cxnLst>
              <a:cxn ang="T8">
                <a:pos x="T0" y="T1"/>
              </a:cxn>
              <a:cxn ang="T9">
                <a:pos x="T2" y="T3"/>
              </a:cxn>
              <a:cxn ang="T10">
                <a:pos x="T4" y="T5"/>
              </a:cxn>
              <a:cxn ang="T11">
                <a:pos x="T6" y="T7"/>
              </a:cxn>
            </a:cxnLst>
            <a:rect l="T12" t="T13" r="T14" b="T15"/>
            <a:pathLst>
              <a:path w="495759" h="154237">
                <a:moveTo>
                  <a:pt x="0" y="22034"/>
                </a:moveTo>
                <a:lnTo>
                  <a:pt x="88135" y="154237"/>
                </a:lnTo>
                <a:lnTo>
                  <a:pt x="495759" y="0"/>
                </a:lnTo>
                <a:lnTo>
                  <a:pt x="0" y="22034"/>
                </a:lnTo>
                <a:close/>
              </a:path>
            </a:pathLst>
          </a:custGeom>
          <a:solidFill>
            <a:srgbClr val="24B2E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84" name="任意多边形 73"/>
          <p:cNvSpPr>
            <a:spLocks noChangeArrowheads="1"/>
          </p:cNvSpPr>
          <p:nvPr userDrawn="1"/>
        </p:nvSpPr>
        <p:spPr bwMode="auto">
          <a:xfrm>
            <a:off x="3479800" y="1116013"/>
            <a:ext cx="669925" cy="561975"/>
          </a:xfrm>
          <a:custGeom>
            <a:avLst/>
            <a:gdLst>
              <a:gd name="T0" fmla="*/ 77118 w 892366"/>
              <a:gd name="T1" fmla="*/ 0 h 749147"/>
              <a:gd name="T2" fmla="*/ 892366 w 892366"/>
              <a:gd name="T3" fmla="*/ 749147 h 749147"/>
              <a:gd name="T4" fmla="*/ 0 w 892366"/>
              <a:gd name="T5" fmla="*/ 528810 h 749147"/>
              <a:gd name="T6" fmla="*/ 77118 w 892366"/>
              <a:gd name="T7" fmla="*/ 0 h 749147"/>
              <a:gd name="T8" fmla="*/ 0 60000 65536"/>
              <a:gd name="T9" fmla="*/ 0 60000 65536"/>
              <a:gd name="T10" fmla="*/ 0 60000 65536"/>
              <a:gd name="T11" fmla="*/ 0 60000 65536"/>
              <a:gd name="T12" fmla="*/ 0 w 892366"/>
              <a:gd name="T13" fmla="*/ 0 h 749147"/>
              <a:gd name="T14" fmla="*/ 892366 w 892366"/>
              <a:gd name="T15" fmla="*/ 749147 h 749147"/>
            </a:gdLst>
            <a:ahLst/>
            <a:cxnLst>
              <a:cxn ang="T8">
                <a:pos x="T0" y="T1"/>
              </a:cxn>
              <a:cxn ang="T9">
                <a:pos x="T2" y="T3"/>
              </a:cxn>
              <a:cxn ang="T10">
                <a:pos x="T4" y="T5"/>
              </a:cxn>
              <a:cxn ang="T11">
                <a:pos x="T6" y="T7"/>
              </a:cxn>
            </a:cxnLst>
            <a:rect l="T12" t="T13" r="T14" b="T15"/>
            <a:pathLst>
              <a:path w="892366" h="749147">
                <a:moveTo>
                  <a:pt x="77118" y="0"/>
                </a:moveTo>
                <a:lnTo>
                  <a:pt x="892366" y="749147"/>
                </a:lnTo>
                <a:lnTo>
                  <a:pt x="0" y="528810"/>
                </a:lnTo>
                <a:lnTo>
                  <a:pt x="77118" y="0"/>
                </a:lnTo>
                <a:close/>
              </a:path>
            </a:pathLst>
          </a:custGeom>
          <a:solidFill>
            <a:srgbClr val="1AA8B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85" name="任意多边形 83"/>
          <p:cNvSpPr>
            <a:spLocks noChangeArrowheads="1"/>
          </p:cNvSpPr>
          <p:nvPr userDrawn="1"/>
        </p:nvSpPr>
        <p:spPr bwMode="auto">
          <a:xfrm>
            <a:off x="5370513" y="1165225"/>
            <a:ext cx="396875" cy="619125"/>
          </a:xfrm>
          <a:custGeom>
            <a:avLst/>
            <a:gdLst>
              <a:gd name="T0" fmla="*/ 495759 w 495759"/>
              <a:gd name="T1" fmla="*/ 0 h 793214"/>
              <a:gd name="T2" fmla="*/ 88135 w 495759"/>
              <a:gd name="T3" fmla="*/ 793214 h 793214"/>
              <a:gd name="T4" fmla="*/ 0 w 495759"/>
              <a:gd name="T5" fmla="*/ 462708 h 793214"/>
              <a:gd name="T6" fmla="*/ 495759 w 495759"/>
              <a:gd name="T7" fmla="*/ 0 h 793214"/>
              <a:gd name="T8" fmla="*/ 0 60000 65536"/>
              <a:gd name="T9" fmla="*/ 0 60000 65536"/>
              <a:gd name="T10" fmla="*/ 0 60000 65536"/>
              <a:gd name="T11" fmla="*/ 0 60000 65536"/>
              <a:gd name="T12" fmla="*/ 0 w 495759"/>
              <a:gd name="T13" fmla="*/ 0 h 793214"/>
              <a:gd name="T14" fmla="*/ 495759 w 495759"/>
              <a:gd name="T15" fmla="*/ 793214 h 793214"/>
            </a:gdLst>
            <a:ahLst/>
            <a:cxnLst>
              <a:cxn ang="T8">
                <a:pos x="T0" y="T1"/>
              </a:cxn>
              <a:cxn ang="T9">
                <a:pos x="T2" y="T3"/>
              </a:cxn>
              <a:cxn ang="T10">
                <a:pos x="T4" y="T5"/>
              </a:cxn>
              <a:cxn ang="T11">
                <a:pos x="T6" y="T7"/>
              </a:cxn>
            </a:cxnLst>
            <a:rect l="T12" t="T13" r="T14" b="T15"/>
            <a:pathLst>
              <a:path w="495759" h="793214">
                <a:moveTo>
                  <a:pt x="495759" y="0"/>
                </a:moveTo>
                <a:lnTo>
                  <a:pt x="88135" y="793214"/>
                </a:lnTo>
                <a:lnTo>
                  <a:pt x="0" y="462708"/>
                </a:lnTo>
                <a:lnTo>
                  <a:pt x="495759" y="0"/>
                </a:lnTo>
                <a:close/>
              </a:path>
            </a:pathLst>
          </a:custGeom>
          <a:solidFill>
            <a:srgbClr val="49102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86" name="任意多边形 84"/>
          <p:cNvSpPr>
            <a:spLocks noChangeArrowheads="1"/>
          </p:cNvSpPr>
          <p:nvPr userDrawn="1"/>
        </p:nvSpPr>
        <p:spPr bwMode="auto">
          <a:xfrm>
            <a:off x="4651375" y="1768475"/>
            <a:ext cx="512763" cy="355600"/>
          </a:xfrm>
          <a:custGeom>
            <a:avLst/>
            <a:gdLst>
              <a:gd name="T0" fmla="*/ 0 w 683046"/>
              <a:gd name="T1" fmla="*/ 0 h 473725"/>
              <a:gd name="T2" fmla="*/ 683046 w 683046"/>
              <a:gd name="T3" fmla="*/ 0 h 473725"/>
              <a:gd name="T4" fmla="*/ 440675 w 683046"/>
              <a:gd name="T5" fmla="*/ 473725 h 473725"/>
              <a:gd name="T6" fmla="*/ 0 w 683046"/>
              <a:gd name="T7" fmla="*/ 0 h 473725"/>
              <a:gd name="T8" fmla="*/ 0 60000 65536"/>
              <a:gd name="T9" fmla="*/ 0 60000 65536"/>
              <a:gd name="T10" fmla="*/ 0 60000 65536"/>
              <a:gd name="T11" fmla="*/ 0 60000 65536"/>
              <a:gd name="T12" fmla="*/ 0 w 683046"/>
              <a:gd name="T13" fmla="*/ 0 h 473725"/>
              <a:gd name="T14" fmla="*/ 683046 w 683046"/>
              <a:gd name="T15" fmla="*/ 473725 h 473725"/>
            </a:gdLst>
            <a:ahLst/>
            <a:cxnLst>
              <a:cxn ang="T8">
                <a:pos x="T0" y="T1"/>
              </a:cxn>
              <a:cxn ang="T9">
                <a:pos x="T2" y="T3"/>
              </a:cxn>
              <a:cxn ang="T10">
                <a:pos x="T4" y="T5"/>
              </a:cxn>
              <a:cxn ang="T11">
                <a:pos x="T6" y="T7"/>
              </a:cxn>
            </a:cxnLst>
            <a:rect l="T12" t="T13" r="T14" b="T15"/>
            <a:pathLst>
              <a:path w="683046" h="473725">
                <a:moveTo>
                  <a:pt x="0" y="0"/>
                </a:moveTo>
                <a:lnTo>
                  <a:pt x="683046" y="0"/>
                </a:lnTo>
                <a:lnTo>
                  <a:pt x="440675" y="473725"/>
                </a:lnTo>
                <a:lnTo>
                  <a:pt x="0" y="0"/>
                </a:lnTo>
                <a:close/>
              </a:path>
            </a:pathLst>
          </a:custGeom>
          <a:solidFill>
            <a:srgbClr val="19B9D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87" name="任意多边形 86"/>
          <p:cNvSpPr>
            <a:spLocks noChangeArrowheads="1"/>
          </p:cNvSpPr>
          <p:nvPr userDrawn="1"/>
        </p:nvSpPr>
        <p:spPr bwMode="auto">
          <a:xfrm>
            <a:off x="4965700" y="1990725"/>
            <a:ext cx="528638" cy="703263"/>
          </a:xfrm>
          <a:custGeom>
            <a:avLst/>
            <a:gdLst>
              <a:gd name="T0" fmla="*/ 352540 w 705080"/>
              <a:gd name="T1" fmla="*/ 0 h 936434"/>
              <a:gd name="T2" fmla="*/ 705080 w 705080"/>
              <a:gd name="T3" fmla="*/ 936434 h 936434"/>
              <a:gd name="T4" fmla="*/ 0 w 705080"/>
              <a:gd name="T5" fmla="*/ 154236 h 936434"/>
              <a:gd name="T6" fmla="*/ 352540 w 705080"/>
              <a:gd name="T7" fmla="*/ 0 h 936434"/>
              <a:gd name="T8" fmla="*/ 0 60000 65536"/>
              <a:gd name="T9" fmla="*/ 0 60000 65536"/>
              <a:gd name="T10" fmla="*/ 0 60000 65536"/>
              <a:gd name="T11" fmla="*/ 0 60000 65536"/>
              <a:gd name="T12" fmla="*/ 0 w 705080"/>
              <a:gd name="T13" fmla="*/ 0 h 936434"/>
              <a:gd name="T14" fmla="*/ 705080 w 705080"/>
              <a:gd name="T15" fmla="*/ 936434 h 936434"/>
            </a:gdLst>
            <a:ahLst/>
            <a:cxnLst>
              <a:cxn ang="T8">
                <a:pos x="T0" y="T1"/>
              </a:cxn>
              <a:cxn ang="T9">
                <a:pos x="T2" y="T3"/>
              </a:cxn>
              <a:cxn ang="T10">
                <a:pos x="T4" y="T5"/>
              </a:cxn>
              <a:cxn ang="T11">
                <a:pos x="T6" y="T7"/>
              </a:cxn>
            </a:cxnLst>
            <a:rect l="T12" t="T13" r="T14" b="T15"/>
            <a:pathLst>
              <a:path w="705080" h="936434">
                <a:moveTo>
                  <a:pt x="352540" y="0"/>
                </a:moveTo>
                <a:lnTo>
                  <a:pt x="705080" y="936434"/>
                </a:lnTo>
                <a:lnTo>
                  <a:pt x="0" y="154236"/>
                </a:lnTo>
                <a:lnTo>
                  <a:pt x="352540" y="0"/>
                </a:lnTo>
                <a:close/>
              </a:path>
            </a:pathLst>
          </a:custGeom>
          <a:solidFill>
            <a:srgbClr val="1E797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88" name="任意多边形 87"/>
          <p:cNvSpPr>
            <a:spLocks noChangeArrowheads="1"/>
          </p:cNvSpPr>
          <p:nvPr userDrawn="1"/>
        </p:nvSpPr>
        <p:spPr bwMode="auto">
          <a:xfrm>
            <a:off x="5181600" y="1760538"/>
            <a:ext cx="263525" cy="230187"/>
          </a:xfrm>
          <a:custGeom>
            <a:avLst/>
            <a:gdLst>
              <a:gd name="T0" fmla="*/ 66101 w 352540"/>
              <a:gd name="T1" fmla="*/ 308472 h 308472"/>
              <a:gd name="T2" fmla="*/ 352540 w 352540"/>
              <a:gd name="T3" fmla="*/ 22034 h 308472"/>
              <a:gd name="T4" fmla="*/ 0 w 352540"/>
              <a:gd name="T5" fmla="*/ 0 h 308472"/>
              <a:gd name="T6" fmla="*/ 66101 w 352540"/>
              <a:gd name="T7" fmla="*/ 308472 h 308472"/>
              <a:gd name="T8" fmla="*/ 0 60000 65536"/>
              <a:gd name="T9" fmla="*/ 0 60000 65536"/>
              <a:gd name="T10" fmla="*/ 0 60000 65536"/>
              <a:gd name="T11" fmla="*/ 0 60000 65536"/>
              <a:gd name="T12" fmla="*/ 0 w 352540"/>
              <a:gd name="T13" fmla="*/ 0 h 308472"/>
              <a:gd name="T14" fmla="*/ 352540 w 352540"/>
              <a:gd name="T15" fmla="*/ 308472 h 308472"/>
            </a:gdLst>
            <a:ahLst/>
            <a:cxnLst>
              <a:cxn ang="T8">
                <a:pos x="T0" y="T1"/>
              </a:cxn>
              <a:cxn ang="T9">
                <a:pos x="T2" y="T3"/>
              </a:cxn>
              <a:cxn ang="T10">
                <a:pos x="T4" y="T5"/>
              </a:cxn>
              <a:cxn ang="T11">
                <a:pos x="T6" y="T7"/>
              </a:cxn>
            </a:cxnLst>
            <a:rect l="T12" t="T13" r="T14" b="T15"/>
            <a:pathLst>
              <a:path w="352540" h="308472">
                <a:moveTo>
                  <a:pt x="66101" y="308472"/>
                </a:moveTo>
                <a:lnTo>
                  <a:pt x="352540" y="22034"/>
                </a:lnTo>
                <a:lnTo>
                  <a:pt x="0" y="0"/>
                </a:lnTo>
                <a:lnTo>
                  <a:pt x="66101" y="308472"/>
                </a:lnTo>
                <a:close/>
              </a:path>
            </a:pathLst>
          </a:custGeom>
          <a:solidFill>
            <a:srgbClr val="104F7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89" name="任意多边形 88"/>
          <p:cNvSpPr>
            <a:spLocks noChangeArrowheads="1"/>
          </p:cNvSpPr>
          <p:nvPr userDrawn="1"/>
        </p:nvSpPr>
        <p:spPr bwMode="auto">
          <a:xfrm>
            <a:off x="5197475" y="1752600"/>
            <a:ext cx="884238" cy="244475"/>
          </a:xfrm>
          <a:custGeom>
            <a:avLst/>
            <a:gdLst>
              <a:gd name="T0" fmla="*/ 0 w 1178804"/>
              <a:gd name="T1" fmla="*/ 275421 h 275421"/>
              <a:gd name="T2" fmla="*/ 1178804 w 1178804"/>
              <a:gd name="T3" fmla="*/ 33050 h 275421"/>
              <a:gd name="T4" fmla="*/ 363556 w 1178804"/>
              <a:gd name="T5" fmla="*/ 0 h 275421"/>
              <a:gd name="T6" fmla="*/ 0 w 1178804"/>
              <a:gd name="T7" fmla="*/ 275421 h 275421"/>
              <a:gd name="T8" fmla="*/ 0 60000 65536"/>
              <a:gd name="T9" fmla="*/ 0 60000 65536"/>
              <a:gd name="T10" fmla="*/ 0 60000 65536"/>
              <a:gd name="T11" fmla="*/ 0 60000 65536"/>
              <a:gd name="T12" fmla="*/ 0 w 1178804"/>
              <a:gd name="T13" fmla="*/ 0 h 275421"/>
              <a:gd name="T14" fmla="*/ 1178804 w 1178804"/>
              <a:gd name="T15" fmla="*/ 275421 h 275421"/>
            </a:gdLst>
            <a:ahLst/>
            <a:cxnLst>
              <a:cxn ang="T8">
                <a:pos x="T0" y="T1"/>
              </a:cxn>
              <a:cxn ang="T9">
                <a:pos x="T2" y="T3"/>
              </a:cxn>
              <a:cxn ang="T10">
                <a:pos x="T4" y="T5"/>
              </a:cxn>
              <a:cxn ang="T11">
                <a:pos x="T6" y="T7"/>
              </a:cxn>
            </a:cxnLst>
            <a:rect l="T12" t="T13" r="T14" b="T15"/>
            <a:pathLst>
              <a:path w="1178804" h="275421">
                <a:moveTo>
                  <a:pt x="0" y="275421"/>
                </a:moveTo>
                <a:lnTo>
                  <a:pt x="1178804" y="33050"/>
                </a:lnTo>
                <a:lnTo>
                  <a:pt x="363556" y="0"/>
                </a:lnTo>
                <a:lnTo>
                  <a:pt x="0" y="275421"/>
                </a:lnTo>
                <a:close/>
              </a:path>
            </a:pathLst>
          </a:custGeom>
          <a:solidFill>
            <a:srgbClr val="0B859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90" name="任意多边形 90"/>
          <p:cNvSpPr>
            <a:spLocks noChangeArrowheads="1"/>
          </p:cNvSpPr>
          <p:nvPr userDrawn="1"/>
        </p:nvSpPr>
        <p:spPr bwMode="auto">
          <a:xfrm>
            <a:off x="5411788" y="1776413"/>
            <a:ext cx="735012" cy="727075"/>
          </a:xfrm>
          <a:custGeom>
            <a:avLst/>
            <a:gdLst>
              <a:gd name="T0" fmla="*/ 903383 w 980501"/>
              <a:gd name="T1" fmla="*/ 0 h 969484"/>
              <a:gd name="T2" fmla="*/ 980501 w 980501"/>
              <a:gd name="T3" fmla="*/ 341522 h 969484"/>
              <a:gd name="T4" fmla="*/ 0 w 980501"/>
              <a:gd name="T5" fmla="*/ 969484 h 969484"/>
              <a:gd name="T6" fmla="*/ 903383 w 980501"/>
              <a:gd name="T7" fmla="*/ 0 h 969484"/>
              <a:gd name="T8" fmla="*/ 0 60000 65536"/>
              <a:gd name="T9" fmla="*/ 0 60000 65536"/>
              <a:gd name="T10" fmla="*/ 0 60000 65536"/>
              <a:gd name="T11" fmla="*/ 0 60000 65536"/>
              <a:gd name="T12" fmla="*/ 0 w 980501"/>
              <a:gd name="T13" fmla="*/ 0 h 969484"/>
              <a:gd name="T14" fmla="*/ 980501 w 980501"/>
              <a:gd name="T15" fmla="*/ 969484 h 969484"/>
            </a:gdLst>
            <a:ahLst/>
            <a:cxnLst>
              <a:cxn ang="T8">
                <a:pos x="T0" y="T1"/>
              </a:cxn>
              <a:cxn ang="T9">
                <a:pos x="T2" y="T3"/>
              </a:cxn>
              <a:cxn ang="T10">
                <a:pos x="T4" y="T5"/>
              </a:cxn>
              <a:cxn ang="T11">
                <a:pos x="T6" y="T7"/>
              </a:cxn>
            </a:cxnLst>
            <a:rect l="T12" t="T13" r="T14" b="T15"/>
            <a:pathLst>
              <a:path w="980501" h="969484">
                <a:moveTo>
                  <a:pt x="903383" y="0"/>
                </a:moveTo>
                <a:lnTo>
                  <a:pt x="980501" y="341522"/>
                </a:lnTo>
                <a:lnTo>
                  <a:pt x="0" y="969484"/>
                </a:lnTo>
                <a:lnTo>
                  <a:pt x="903383" y="0"/>
                </a:lnTo>
                <a:close/>
              </a:path>
            </a:pathLst>
          </a:custGeom>
          <a:solidFill>
            <a:srgbClr val="14789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91" name="任意多边形 91"/>
          <p:cNvSpPr>
            <a:spLocks noChangeArrowheads="1"/>
          </p:cNvSpPr>
          <p:nvPr userDrawn="1"/>
        </p:nvSpPr>
        <p:spPr bwMode="auto">
          <a:xfrm>
            <a:off x="5403850" y="2279650"/>
            <a:ext cx="347663" cy="414338"/>
          </a:xfrm>
          <a:custGeom>
            <a:avLst/>
            <a:gdLst>
              <a:gd name="T0" fmla="*/ 462708 w 462708"/>
              <a:gd name="T1" fmla="*/ 0 h 550843"/>
              <a:gd name="T2" fmla="*/ 110169 w 462708"/>
              <a:gd name="T3" fmla="*/ 550843 h 550843"/>
              <a:gd name="T4" fmla="*/ 0 w 462708"/>
              <a:gd name="T5" fmla="*/ 264405 h 550843"/>
              <a:gd name="T6" fmla="*/ 462708 w 462708"/>
              <a:gd name="T7" fmla="*/ 0 h 550843"/>
              <a:gd name="T8" fmla="*/ 0 60000 65536"/>
              <a:gd name="T9" fmla="*/ 0 60000 65536"/>
              <a:gd name="T10" fmla="*/ 0 60000 65536"/>
              <a:gd name="T11" fmla="*/ 0 60000 65536"/>
              <a:gd name="T12" fmla="*/ 0 w 462708"/>
              <a:gd name="T13" fmla="*/ 0 h 550843"/>
              <a:gd name="T14" fmla="*/ 462708 w 462708"/>
              <a:gd name="T15" fmla="*/ 550843 h 550843"/>
            </a:gdLst>
            <a:ahLst/>
            <a:cxnLst>
              <a:cxn ang="T8">
                <a:pos x="T0" y="T1"/>
              </a:cxn>
              <a:cxn ang="T9">
                <a:pos x="T2" y="T3"/>
              </a:cxn>
              <a:cxn ang="T10">
                <a:pos x="T4" y="T5"/>
              </a:cxn>
              <a:cxn ang="T11">
                <a:pos x="T6" y="T7"/>
              </a:cxn>
            </a:cxnLst>
            <a:rect l="T12" t="T13" r="T14" b="T15"/>
            <a:pathLst>
              <a:path w="462708" h="550843">
                <a:moveTo>
                  <a:pt x="462708" y="0"/>
                </a:moveTo>
                <a:lnTo>
                  <a:pt x="110169" y="550843"/>
                </a:lnTo>
                <a:lnTo>
                  <a:pt x="0" y="264405"/>
                </a:lnTo>
                <a:lnTo>
                  <a:pt x="462708" y="0"/>
                </a:lnTo>
                <a:close/>
              </a:path>
            </a:pathLst>
          </a:custGeom>
          <a:solidFill>
            <a:srgbClr val="10718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92" name="任意多边形 92"/>
          <p:cNvSpPr>
            <a:spLocks noChangeArrowheads="1"/>
          </p:cNvSpPr>
          <p:nvPr userDrawn="1"/>
        </p:nvSpPr>
        <p:spPr bwMode="auto">
          <a:xfrm rot="21328923">
            <a:off x="5470525" y="2305050"/>
            <a:ext cx="271463" cy="381000"/>
          </a:xfrm>
          <a:custGeom>
            <a:avLst/>
            <a:gdLst>
              <a:gd name="T0" fmla="*/ 363556 w 363556"/>
              <a:gd name="T1" fmla="*/ 0 h 506776"/>
              <a:gd name="T2" fmla="*/ 319489 w 363556"/>
              <a:gd name="T3" fmla="*/ 231354 h 506776"/>
              <a:gd name="T4" fmla="*/ 0 w 363556"/>
              <a:gd name="T5" fmla="*/ 506776 h 506776"/>
              <a:gd name="T6" fmla="*/ 363556 w 363556"/>
              <a:gd name="T7" fmla="*/ 0 h 506776"/>
              <a:gd name="T8" fmla="*/ 0 60000 65536"/>
              <a:gd name="T9" fmla="*/ 0 60000 65536"/>
              <a:gd name="T10" fmla="*/ 0 60000 65536"/>
              <a:gd name="T11" fmla="*/ 0 60000 65536"/>
              <a:gd name="T12" fmla="*/ 0 w 363556"/>
              <a:gd name="T13" fmla="*/ 0 h 506776"/>
              <a:gd name="T14" fmla="*/ 363556 w 363556"/>
              <a:gd name="T15" fmla="*/ 506776 h 506776"/>
            </a:gdLst>
            <a:ahLst/>
            <a:cxnLst>
              <a:cxn ang="T8">
                <a:pos x="T0" y="T1"/>
              </a:cxn>
              <a:cxn ang="T9">
                <a:pos x="T2" y="T3"/>
              </a:cxn>
              <a:cxn ang="T10">
                <a:pos x="T4" y="T5"/>
              </a:cxn>
              <a:cxn ang="T11">
                <a:pos x="T6" y="T7"/>
              </a:cxn>
            </a:cxnLst>
            <a:rect l="T12" t="T13" r="T14" b="T15"/>
            <a:pathLst>
              <a:path w="363556" h="506776">
                <a:moveTo>
                  <a:pt x="363556" y="0"/>
                </a:moveTo>
                <a:lnTo>
                  <a:pt x="319489" y="231354"/>
                </a:lnTo>
                <a:lnTo>
                  <a:pt x="0" y="506776"/>
                </a:lnTo>
                <a:lnTo>
                  <a:pt x="363556" y="0"/>
                </a:lnTo>
                <a:close/>
              </a:path>
            </a:pathLst>
          </a:custGeom>
          <a:solidFill>
            <a:srgbClr val="1D99B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93" name="任意多边形 94"/>
          <p:cNvSpPr>
            <a:spLocks noChangeArrowheads="1"/>
          </p:cNvSpPr>
          <p:nvPr userDrawn="1"/>
        </p:nvSpPr>
        <p:spPr bwMode="auto">
          <a:xfrm>
            <a:off x="4991100" y="296863"/>
            <a:ext cx="965200" cy="231775"/>
          </a:xfrm>
          <a:custGeom>
            <a:avLst/>
            <a:gdLst>
              <a:gd name="T0" fmla="*/ 0 w 1288973"/>
              <a:gd name="T1" fmla="*/ 308472 h 308472"/>
              <a:gd name="T2" fmla="*/ 1288973 w 1288973"/>
              <a:gd name="T3" fmla="*/ 0 h 308472"/>
              <a:gd name="T4" fmla="*/ 154236 w 1288973"/>
              <a:gd name="T5" fmla="*/ 11016 h 308472"/>
              <a:gd name="T6" fmla="*/ 0 w 1288973"/>
              <a:gd name="T7" fmla="*/ 308472 h 308472"/>
              <a:gd name="T8" fmla="*/ 0 60000 65536"/>
              <a:gd name="T9" fmla="*/ 0 60000 65536"/>
              <a:gd name="T10" fmla="*/ 0 60000 65536"/>
              <a:gd name="T11" fmla="*/ 0 60000 65536"/>
              <a:gd name="T12" fmla="*/ 0 w 1288973"/>
              <a:gd name="T13" fmla="*/ 0 h 308472"/>
              <a:gd name="T14" fmla="*/ 1288973 w 1288973"/>
              <a:gd name="T15" fmla="*/ 308472 h 308472"/>
            </a:gdLst>
            <a:ahLst/>
            <a:cxnLst>
              <a:cxn ang="T8">
                <a:pos x="T0" y="T1"/>
              </a:cxn>
              <a:cxn ang="T9">
                <a:pos x="T2" y="T3"/>
              </a:cxn>
              <a:cxn ang="T10">
                <a:pos x="T4" y="T5"/>
              </a:cxn>
              <a:cxn ang="T11">
                <a:pos x="T6" y="T7"/>
              </a:cxn>
            </a:cxnLst>
            <a:rect l="T12" t="T13" r="T14" b="T15"/>
            <a:pathLst>
              <a:path w="1288973" h="308472">
                <a:moveTo>
                  <a:pt x="0" y="308472"/>
                </a:moveTo>
                <a:lnTo>
                  <a:pt x="1288973" y="0"/>
                </a:lnTo>
                <a:lnTo>
                  <a:pt x="154236" y="11016"/>
                </a:lnTo>
                <a:lnTo>
                  <a:pt x="0" y="308472"/>
                </a:lnTo>
                <a:close/>
              </a:path>
            </a:pathLst>
          </a:custGeom>
          <a:solidFill>
            <a:srgbClr val="21BDE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94" name="任意多边形 95"/>
          <p:cNvSpPr>
            <a:spLocks noChangeArrowheads="1"/>
          </p:cNvSpPr>
          <p:nvPr userDrawn="1"/>
        </p:nvSpPr>
        <p:spPr bwMode="auto">
          <a:xfrm>
            <a:off x="5006975" y="430213"/>
            <a:ext cx="793750" cy="742950"/>
          </a:xfrm>
          <a:custGeom>
            <a:avLst/>
            <a:gdLst>
              <a:gd name="T0" fmla="*/ 0 w 1057619"/>
              <a:gd name="T1" fmla="*/ 121186 h 991518"/>
              <a:gd name="T2" fmla="*/ 440674 w 1057619"/>
              <a:gd name="T3" fmla="*/ 0 h 991518"/>
              <a:gd name="T4" fmla="*/ 1057619 w 1057619"/>
              <a:gd name="T5" fmla="*/ 991518 h 991518"/>
              <a:gd name="T6" fmla="*/ 0 w 1057619"/>
              <a:gd name="T7" fmla="*/ 121186 h 991518"/>
              <a:gd name="T8" fmla="*/ 0 60000 65536"/>
              <a:gd name="T9" fmla="*/ 0 60000 65536"/>
              <a:gd name="T10" fmla="*/ 0 60000 65536"/>
              <a:gd name="T11" fmla="*/ 0 60000 65536"/>
              <a:gd name="T12" fmla="*/ 0 w 1057619"/>
              <a:gd name="T13" fmla="*/ 0 h 991518"/>
              <a:gd name="T14" fmla="*/ 1057619 w 1057619"/>
              <a:gd name="T15" fmla="*/ 991518 h 991518"/>
            </a:gdLst>
            <a:ahLst/>
            <a:cxnLst>
              <a:cxn ang="T8">
                <a:pos x="T0" y="T1"/>
              </a:cxn>
              <a:cxn ang="T9">
                <a:pos x="T2" y="T3"/>
              </a:cxn>
              <a:cxn ang="T10">
                <a:pos x="T4" y="T5"/>
              </a:cxn>
              <a:cxn ang="T11">
                <a:pos x="T6" y="T7"/>
              </a:cxn>
            </a:cxnLst>
            <a:rect l="T12" t="T13" r="T14" b="T15"/>
            <a:pathLst>
              <a:path w="1057619" h="991518">
                <a:moveTo>
                  <a:pt x="0" y="121186"/>
                </a:moveTo>
                <a:lnTo>
                  <a:pt x="440674" y="0"/>
                </a:lnTo>
                <a:lnTo>
                  <a:pt x="1057619" y="991518"/>
                </a:lnTo>
                <a:lnTo>
                  <a:pt x="0" y="121186"/>
                </a:lnTo>
                <a:close/>
              </a:path>
            </a:pathLst>
          </a:custGeom>
          <a:solidFill>
            <a:srgbClr val="06AAC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95" name="任意多边形 98"/>
          <p:cNvSpPr>
            <a:spLocks noChangeArrowheads="1"/>
          </p:cNvSpPr>
          <p:nvPr userDrawn="1"/>
        </p:nvSpPr>
        <p:spPr bwMode="auto">
          <a:xfrm>
            <a:off x="5767388" y="296863"/>
            <a:ext cx="1701800" cy="868362"/>
          </a:xfrm>
          <a:custGeom>
            <a:avLst/>
            <a:gdLst>
              <a:gd name="T0" fmla="*/ 286439 w 2269475"/>
              <a:gd name="T1" fmla="*/ 0 h 1156772"/>
              <a:gd name="T2" fmla="*/ 2269475 w 2269475"/>
              <a:gd name="T3" fmla="*/ 0 h 1156772"/>
              <a:gd name="T4" fmla="*/ 0 w 2269475"/>
              <a:gd name="T5" fmla="*/ 1156772 h 1156772"/>
              <a:gd name="T6" fmla="*/ 286439 w 2269475"/>
              <a:gd name="T7" fmla="*/ 0 h 1156772"/>
              <a:gd name="T8" fmla="*/ 0 60000 65536"/>
              <a:gd name="T9" fmla="*/ 0 60000 65536"/>
              <a:gd name="T10" fmla="*/ 0 60000 65536"/>
              <a:gd name="T11" fmla="*/ 0 60000 65536"/>
              <a:gd name="T12" fmla="*/ 0 w 2269475"/>
              <a:gd name="T13" fmla="*/ 0 h 1156772"/>
              <a:gd name="T14" fmla="*/ 2269475 w 2269475"/>
              <a:gd name="T15" fmla="*/ 1156772 h 1156772"/>
            </a:gdLst>
            <a:ahLst/>
            <a:cxnLst>
              <a:cxn ang="T8">
                <a:pos x="T0" y="T1"/>
              </a:cxn>
              <a:cxn ang="T9">
                <a:pos x="T2" y="T3"/>
              </a:cxn>
              <a:cxn ang="T10">
                <a:pos x="T4" y="T5"/>
              </a:cxn>
              <a:cxn ang="T11">
                <a:pos x="T6" y="T7"/>
              </a:cxn>
            </a:cxnLst>
            <a:rect l="T12" t="T13" r="T14" b="T15"/>
            <a:pathLst>
              <a:path w="2269475" h="1156772">
                <a:moveTo>
                  <a:pt x="286439" y="0"/>
                </a:moveTo>
                <a:lnTo>
                  <a:pt x="2269475" y="0"/>
                </a:lnTo>
                <a:lnTo>
                  <a:pt x="0" y="1156772"/>
                </a:lnTo>
                <a:lnTo>
                  <a:pt x="286439" y="0"/>
                </a:lnTo>
                <a:close/>
              </a:path>
            </a:pathLst>
          </a:custGeom>
          <a:solidFill>
            <a:srgbClr val="4DC4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96" name="任意多边形 99"/>
          <p:cNvSpPr>
            <a:spLocks noChangeArrowheads="1"/>
          </p:cNvSpPr>
          <p:nvPr userDrawn="1"/>
        </p:nvSpPr>
        <p:spPr bwMode="auto">
          <a:xfrm>
            <a:off x="5734050" y="280988"/>
            <a:ext cx="1709738" cy="900112"/>
          </a:xfrm>
          <a:custGeom>
            <a:avLst/>
            <a:gdLst>
              <a:gd name="T0" fmla="*/ 77118 w 2280492"/>
              <a:gd name="T1" fmla="*/ 1167788 h 1189822"/>
              <a:gd name="T2" fmla="*/ 771181 w 2280492"/>
              <a:gd name="T3" fmla="*/ 1090670 h 1189822"/>
              <a:gd name="T4" fmla="*/ 2280492 w 2280492"/>
              <a:gd name="T5" fmla="*/ 0 h 1189822"/>
              <a:gd name="T6" fmla="*/ 0 w 2280492"/>
              <a:gd name="T7" fmla="*/ 1189822 h 1189822"/>
              <a:gd name="T8" fmla="*/ 77118 w 2280492"/>
              <a:gd name="T9" fmla="*/ 1167788 h 1189822"/>
              <a:gd name="T10" fmla="*/ 0 60000 65536"/>
              <a:gd name="T11" fmla="*/ 0 60000 65536"/>
              <a:gd name="T12" fmla="*/ 0 60000 65536"/>
              <a:gd name="T13" fmla="*/ 0 60000 65536"/>
              <a:gd name="T14" fmla="*/ 0 60000 65536"/>
              <a:gd name="T15" fmla="*/ 0 w 2280492"/>
              <a:gd name="T16" fmla="*/ 0 h 1189822"/>
              <a:gd name="T17" fmla="*/ 2280492 w 2280492"/>
              <a:gd name="T18" fmla="*/ 1189822 h 1189822"/>
            </a:gdLst>
            <a:ahLst/>
            <a:cxnLst>
              <a:cxn ang="T10">
                <a:pos x="T0" y="T1"/>
              </a:cxn>
              <a:cxn ang="T11">
                <a:pos x="T2" y="T3"/>
              </a:cxn>
              <a:cxn ang="T12">
                <a:pos x="T4" y="T5"/>
              </a:cxn>
              <a:cxn ang="T13">
                <a:pos x="T6" y="T7"/>
              </a:cxn>
              <a:cxn ang="T14">
                <a:pos x="T8" y="T9"/>
              </a:cxn>
            </a:cxnLst>
            <a:rect l="T15" t="T16" r="T17" b="T18"/>
            <a:pathLst>
              <a:path w="2280492" h="1189822">
                <a:moveTo>
                  <a:pt x="77118" y="1167788"/>
                </a:moveTo>
                <a:lnTo>
                  <a:pt x="771181" y="1090670"/>
                </a:lnTo>
                <a:lnTo>
                  <a:pt x="2280492" y="0"/>
                </a:lnTo>
                <a:lnTo>
                  <a:pt x="0" y="1189822"/>
                </a:lnTo>
                <a:lnTo>
                  <a:pt x="77118" y="1167788"/>
                </a:lnTo>
                <a:close/>
              </a:path>
            </a:pathLst>
          </a:custGeom>
          <a:solidFill>
            <a:srgbClr val="0BA7C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97" name="任意多边形 103"/>
          <p:cNvSpPr>
            <a:spLocks noChangeArrowheads="1"/>
          </p:cNvSpPr>
          <p:nvPr userDrawn="1"/>
        </p:nvSpPr>
        <p:spPr bwMode="auto">
          <a:xfrm>
            <a:off x="5437188" y="1438275"/>
            <a:ext cx="569912" cy="361950"/>
          </a:xfrm>
          <a:custGeom>
            <a:avLst/>
            <a:gdLst>
              <a:gd name="T0" fmla="*/ 176270 w 760164"/>
              <a:gd name="T1" fmla="*/ 88135 h 440675"/>
              <a:gd name="T2" fmla="*/ 760164 w 760164"/>
              <a:gd name="T3" fmla="*/ 0 h 440675"/>
              <a:gd name="T4" fmla="*/ 0 w 760164"/>
              <a:gd name="T5" fmla="*/ 440675 h 440675"/>
              <a:gd name="T6" fmla="*/ 176270 w 760164"/>
              <a:gd name="T7" fmla="*/ 88135 h 440675"/>
              <a:gd name="T8" fmla="*/ 0 60000 65536"/>
              <a:gd name="T9" fmla="*/ 0 60000 65536"/>
              <a:gd name="T10" fmla="*/ 0 60000 65536"/>
              <a:gd name="T11" fmla="*/ 0 60000 65536"/>
              <a:gd name="T12" fmla="*/ 0 w 760164"/>
              <a:gd name="T13" fmla="*/ 0 h 440675"/>
              <a:gd name="T14" fmla="*/ 760164 w 760164"/>
              <a:gd name="T15" fmla="*/ 440675 h 440675"/>
            </a:gdLst>
            <a:ahLst/>
            <a:cxnLst>
              <a:cxn ang="T8">
                <a:pos x="T0" y="T1"/>
              </a:cxn>
              <a:cxn ang="T9">
                <a:pos x="T2" y="T3"/>
              </a:cxn>
              <a:cxn ang="T10">
                <a:pos x="T4" y="T5"/>
              </a:cxn>
              <a:cxn ang="T11">
                <a:pos x="T6" y="T7"/>
              </a:cxn>
            </a:cxnLst>
            <a:rect l="T12" t="T13" r="T14" b="T15"/>
            <a:pathLst>
              <a:path w="760164" h="440675">
                <a:moveTo>
                  <a:pt x="176270" y="88135"/>
                </a:moveTo>
                <a:lnTo>
                  <a:pt x="760164" y="0"/>
                </a:lnTo>
                <a:lnTo>
                  <a:pt x="0" y="440675"/>
                </a:lnTo>
                <a:lnTo>
                  <a:pt x="176270" y="88135"/>
                </a:lnTo>
                <a:close/>
              </a:path>
            </a:pathLst>
          </a:custGeom>
          <a:solidFill>
            <a:srgbClr val="0A738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98" name="任意多边形 105"/>
          <p:cNvSpPr>
            <a:spLocks noChangeArrowheads="1"/>
          </p:cNvSpPr>
          <p:nvPr userDrawn="1"/>
        </p:nvSpPr>
        <p:spPr bwMode="auto">
          <a:xfrm>
            <a:off x="5445125" y="1627188"/>
            <a:ext cx="438150" cy="165100"/>
          </a:xfrm>
          <a:custGeom>
            <a:avLst/>
            <a:gdLst>
              <a:gd name="T0" fmla="*/ 0 w 583894"/>
              <a:gd name="T1" fmla="*/ 198304 h 220337"/>
              <a:gd name="T2" fmla="*/ 583894 w 583894"/>
              <a:gd name="T3" fmla="*/ 220337 h 220337"/>
              <a:gd name="T4" fmla="*/ 341522 w 583894"/>
              <a:gd name="T5" fmla="*/ 0 h 220337"/>
              <a:gd name="T6" fmla="*/ 0 w 583894"/>
              <a:gd name="T7" fmla="*/ 198304 h 220337"/>
              <a:gd name="T8" fmla="*/ 0 60000 65536"/>
              <a:gd name="T9" fmla="*/ 0 60000 65536"/>
              <a:gd name="T10" fmla="*/ 0 60000 65536"/>
              <a:gd name="T11" fmla="*/ 0 60000 65536"/>
              <a:gd name="T12" fmla="*/ 0 w 583894"/>
              <a:gd name="T13" fmla="*/ 0 h 220337"/>
              <a:gd name="T14" fmla="*/ 583894 w 583894"/>
              <a:gd name="T15" fmla="*/ 220337 h 220337"/>
            </a:gdLst>
            <a:ahLst/>
            <a:cxnLst>
              <a:cxn ang="T8">
                <a:pos x="T0" y="T1"/>
              </a:cxn>
              <a:cxn ang="T9">
                <a:pos x="T2" y="T3"/>
              </a:cxn>
              <a:cxn ang="T10">
                <a:pos x="T4" y="T5"/>
              </a:cxn>
              <a:cxn ang="T11">
                <a:pos x="T6" y="T7"/>
              </a:cxn>
            </a:cxnLst>
            <a:rect l="T12" t="T13" r="T14" b="T15"/>
            <a:pathLst>
              <a:path w="583894" h="220337">
                <a:moveTo>
                  <a:pt x="0" y="198304"/>
                </a:moveTo>
                <a:lnTo>
                  <a:pt x="583894" y="220337"/>
                </a:lnTo>
                <a:lnTo>
                  <a:pt x="341522" y="0"/>
                </a:lnTo>
                <a:lnTo>
                  <a:pt x="0" y="198304"/>
                </a:lnTo>
                <a:close/>
              </a:path>
            </a:pathLst>
          </a:custGeom>
          <a:solidFill>
            <a:srgbClr val="14667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99" name="任意多边形 107"/>
          <p:cNvSpPr>
            <a:spLocks noChangeArrowheads="1"/>
          </p:cNvSpPr>
          <p:nvPr userDrawn="1"/>
        </p:nvSpPr>
        <p:spPr bwMode="auto">
          <a:xfrm>
            <a:off x="5908675" y="1346200"/>
            <a:ext cx="355600" cy="430213"/>
          </a:xfrm>
          <a:custGeom>
            <a:avLst/>
            <a:gdLst>
              <a:gd name="T0" fmla="*/ 77118 w 473725"/>
              <a:gd name="T1" fmla="*/ 165253 h 572878"/>
              <a:gd name="T2" fmla="*/ 473725 w 473725"/>
              <a:gd name="T3" fmla="*/ 0 h 572878"/>
              <a:gd name="T4" fmla="*/ 0 w 473725"/>
              <a:gd name="T5" fmla="*/ 572878 h 572878"/>
              <a:gd name="T6" fmla="*/ 77118 w 473725"/>
              <a:gd name="T7" fmla="*/ 165253 h 572878"/>
              <a:gd name="T8" fmla="*/ 0 60000 65536"/>
              <a:gd name="T9" fmla="*/ 0 60000 65536"/>
              <a:gd name="T10" fmla="*/ 0 60000 65536"/>
              <a:gd name="T11" fmla="*/ 0 60000 65536"/>
              <a:gd name="T12" fmla="*/ 0 w 473725"/>
              <a:gd name="T13" fmla="*/ 0 h 572878"/>
              <a:gd name="T14" fmla="*/ 473725 w 473725"/>
              <a:gd name="T15" fmla="*/ 572878 h 572878"/>
            </a:gdLst>
            <a:ahLst/>
            <a:cxnLst>
              <a:cxn ang="T8">
                <a:pos x="T0" y="T1"/>
              </a:cxn>
              <a:cxn ang="T9">
                <a:pos x="T2" y="T3"/>
              </a:cxn>
              <a:cxn ang="T10">
                <a:pos x="T4" y="T5"/>
              </a:cxn>
              <a:cxn ang="T11">
                <a:pos x="T6" y="T7"/>
              </a:cxn>
            </a:cxnLst>
            <a:rect l="T12" t="T13" r="T14" b="T15"/>
            <a:pathLst>
              <a:path w="473725" h="572878">
                <a:moveTo>
                  <a:pt x="77118" y="165253"/>
                </a:moveTo>
                <a:lnTo>
                  <a:pt x="473725" y="0"/>
                </a:lnTo>
                <a:lnTo>
                  <a:pt x="0" y="572878"/>
                </a:lnTo>
                <a:lnTo>
                  <a:pt x="77118" y="165253"/>
                </a:lnTo>
                <a:close/>
              </a:path>
            </a:pathLst>
          </a:custGeom>
          <a:solidFill>
            <a:srgbClr val="133E4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00" name="任意多边形 110"/>
          <p:cNvSpPr>
            <a:spLocks noChangeArrowheads="1"/>
          </p:cNvSpPr>
          <p:nvPr userDrawn="1"/>
        </p:nvSpPr>
        <p:spPr bwMode="auto">
          <a:xfrm>
            <a:off x="5916613" y="-73025"/>
            <a:ext cx="1684337" cy="387350"/>
          </a:xfrm>
          <a:custGeom>
            <a:avLst/>
            <a:gdLst>
              <a:gd name="T0" fmla="*/ 0 w 2247441"/>
              <a:gd name="T1" fmla="*/ 495759 h 495759"/>
              <a:gd name="T2" fmla="*/ 991518 w 2247441"/>
              <a:gd name="T3" fmla="*/ 0 h 495759"/>
              <a:gd name="T4" fmla="*/ 2247441 w 2247441"/>
              <a:gd name="T5" fmla="*/ 0 h 495759"/>
              <a:gd name="T6" fmla="*/ 2060154 w 2247441"/>
              <a:gd name="T7" fmla="*/ 473725 h 495759"/>
              <a:gd name="T8" fmla="*/ 0 w 2247441"/>
              <a:gd name="T9" fmla="*/ 495759 h 495759"/>
              <a:gd name="T10" fmla="*/ 0 60000 65536"/>
              <a:gd name="T11" fmla="*/ 0 60000 65536"/>
              <a:gd name="T12" fmla="*/ 0 60000 65536"/>
              <a:gd name="T13" fmla="*/ 0 60000 65536"/>
              <a:gd name="T14" fmla="*/ 0 60000 65536"/>
              <a:gd name="T15" fmla="*/ 0 w 2247441"/>
              <a:gd name="T16" fmla="*/ 0 h 495759"/>
              <a:gd name="T17" fmla="*/ 2247441 w 2247441"/>
              <a:gd name="T18" fmla="*/ 495759 h 495759"/>
            </a:gdLst>
            <a:ahLst/>
            <a:cxnLst>
              <a:cxn ang="T10">
                <a:pos x="T0" y="T1"/>
              </a:cxn>
              <a:cxn ang="T11">
                <a:pos x="T2" y="T3"/>
              </a:cxn>
              <a:cxn ang="T12">
                <a:pos x="T4" y="T5"/>
              </a:cxn>
              <a:cxn ang="T13">
                <a:pos x="T6" y="T7"/>
              </a:cxn>
              <a:cxn ang="T14">
                <a:pos x="T8" y="T9"/>
              </a:cxn>
            </a:cxnLst>
            <a:rect l="T15" t="T16" r="T17" b="T18"/>
            <a:pathLst>
              <a:path w="2247441" h="495759">
                <a:moveTo>
                  <a:pt x="0" y="495759"/>
                </a:moveTo>
                <a:lnTo>
                  <a:pt x="991518" y="0"/>
                </a:lnTo>
                <a:lnTo>
                  <a:pt x="2247441" y="0"/>
                </a:lnTo>
                <a:lnTo>
                  <a:pt x="2060154" y="473725"/>
                </a:lnTo>
                <a:lnTo>
                  <a:pt x="0" y="495759"/>
                </a:lnTo>
                <a:close/>
              </a:path>
            </a:pathLst>
          </a:custGeom>
          <a:solidFill>
            <a:srgbClr val="1C96B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01" name="任意多边形 111"/>
          <p:cNvSpPr>
            <a:spLocks noChangeArrowheads="1"/>
          </p:cNvSpPr>
          <p:nvPr userDrawn="1"/>
        </p:nvSpPr>
        <p:spPr bwMode="auto">
          <a:xfrm>
            <a:off x="5957888" y="-123825"/>
            <a:ext cx="850900" cy="422275"/>
          </a:xfrm>
          <a:custGeom>
            <a:avLst/>
            <a:gdLst>
              <a:gd name="T0" fmla="*/ 0 w 1134738"/>
              <a:gd name="T1" fmla="*/ 561861 h 561861"/>
              <a:gd name="T2" fmla="*/ 870333 w 1134738"/>
              <a:gd name="T3" fmla="*/ 0 h 561861"/>
              <a:gd name="T4" fmla="*/ 1134738 w 1134738"/>
              <a:gd name="T5" fmla="*/ 22034 h 561861"/>
              <a:gd name="T6" fmla="*/ 0 w 1134738"/>
              <a:gd name="T7" fmla="*/ 561861 h 561861"/>
              <a:gd name="T8" fmla="*/ 0 60000 65536"/>
              <a:gd name="T9" fmla="*/ 0 60000 65536"/>
              <a:gd name="T10" fmla="*/ 0 60000 65536"/>
              <a:gd name="T11" fmla="*/ 0 60000 65536"/>
              <a:gd name="T12" fmla="*/ 0 w 1134738"/>
              <a:gd name="T13" fmla="*/ 0 h 561861"/>
              <a:gd name="T14" fmla="*/ 1134738 w 1134738"/>
              <a:gd name="T15" fmla="*/ 561861 h 561861"/>
            </a:gdLst>
            <a:ahLst/>
            <a:cxnLst>
              <a:cxn ang="T8">
                <a:pos x="T0" y="T1"/>
              </a:cxn>
              <a:cxn ang="T9">
                <a:pos x="T2" y="T3"/>
              </a:cxn>
              <a:cxn ang="T10">
                <a:pos x="T4" y="T5"/>
              </a:cxn>
              <a:cxn ang="T11">
                <a:pos x="T6" y="T7"/>
              </a:cxn>
            </a:cxnLst>
            <a:rect l="T12" t="T13" r="T14" b="T15"/>
            <a:pathLst>
              <a:path w="1134738" h="561861">
                <a:moveTo>
                  <a:pt x="0" y="561861"/>
                </a:moveTo>
                <a:lnTo>
                  <a:pt x="870333" y="0"/>
                </a:lnTo>
                <a:lnTo>
                  <a:pt x="1134738" y="22034"/>
                </a:lnTo>
                <a:lnTo>
                  <a:pt x="0" y="561861"/>
                </a:lnTo>
                <a:close/>
              </a:path>
            </a:pathLst>
          </a:custGeom>
          <a:solidFill>
            <a:srgbClr val="11A7B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02" name="任意多边形 112"/>
          <p:cNvSpPr>
            <a:spLocks noChangeArrowheads="1"/>
          </p:cNvSpPr>
          <p:nvPr userDrawn="1"/>
        </p:nvSpPr>
        <p:spPr bwMode="auto">
          <a:xfrm>
            <a:off x="7461250" y="0"/>
            <a:ext cx="330200" cy="273050"/>
          </a:xfrm>
          <a:custGeom>
            <a:avLst/>
            <a:gdLst>
              <a:gd name="T0" fmla="*/ 121186 w 440675"/>
              <a:gd name="T1" fmla="*/ 0 h 363557"/>
              <a:gd name="T2" fmla="*/ 440675 w 440675"/>
              <a:gd name="T3" fmla="*/ 0 h 363557"/>
              <a:gd name="T4" fmla="*/ 0 w 440675"/>
              <a:gd name="T5" fmla="*/ 363557 h 363557"/>
              <a:gd name="T6" fmla="*/ 121186 w 440675"/>
              <a:gd name="T7" fmla="*/ 0 h 363557"/>
              <a:gd name="T8" fmla="*/ 0 60000 65536"/>
              <a:gd name="T9" fmla="*/ 0 60000 65536"/>
              <a:gd name="T10" fmla="*/ 0 60000 65536"/>
              <a:gd name="T11" fmla="*/ 0 60000 65536"/>
              <a:gd name="T12" fmla="*/ 0 w 440675"/>
              <a:gd name="T13" fmla="*/ 0 h 363557"/>
              <a:gd name="T14" fmla="*/ 440675 w 440675"/>
              <a:gd name="T15" fmla="*/ 363557 h 363557"/>
            </a:gdLst>
            <a:ahLst/>
            <a:cxnLst>
              <a:cxn ang="T8">
                <a:pos x="T0" y="T1"/>
              </a:cxn>
              <a:cxn ang="T9">
                <a:pos x="T2" y="T3"/>
              </a:cxn>
              <a:cxn ang="T10">
                <a:pos x="T4" y="T5"/>
              </a:cxn>
              <a:cxn ang="T11">
                <a:pos x="T6" y="T7"/>
              </a:cxn>
            </a:cxnLst>
            <a:rect l="T12" t="T13" r="T14" b="T15"/>
            <a:pathLst>
              <a:path w="440675" h="363557">
                <a:moveTo>
                  <a:pt x="121186" y="0"/>
                </a:moveTo>
                <a:lnTo>
                  <a:pt x="440675" y="0"/>
                </a:lnTo>
                <a:lnTo>
                  <a:pt x="0" y="363557"/>
                </a:lnTo>
                <a:lnTo>
                  <a:pt x="121186" y="0"/>
                </a:lnTo>
                <a:close/>
              </a:path>
            </a:pathLst>
          </a:custGeom>
          <a:solidFill>
            <a:srgbClr val="10597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03" name="任意多边形 114"/>
          <p:cNvSpPr>
            <a:spLocks noChangeArrowheads="1"/>
          </p:cNvSpPr>
          <p:nvPr userDrawn="1"/>
        </p:nvSpPr>
        <p:spPr bwMode="auto">
          <a:xfrm>
            <a:off x="7427913" y="-139700"/>
            <a:ext cx="611187" cy="446088"/>
          </a:xfrm>
          <a:custGeom>
            <a:avLst/>
            <a:gdLst>
              <a:gd name="T0" fmla="*/ 0 w 815248"/>
              <a:gd name="T1" fmla="*/ 550844 h 550844"/>
              <a:gd name="T2" fmla="*/ 638978 w 815248"/>
              <a:gd name="T3" fmla="*/ 0 h 550844"/>
              <a:gd name="T4" fmla="*/ 815248 w 815248"/>
              <a:gd name="T5" fmla="*/ 341523 h 550844"/>
              <a:gd name="T6" fmla="*/ 0 w 815248"/>
              <a:gd name="T7" fmla="*/ 550844 h 550844"/>
              <a:gd name="T8" fmla="*/ 0 60000 65536"/>
              <a:gd name="T9" fmla="*/ 0 60000 65536"/>
              <a:gd name="T10" fmla="*/ 0 60000 65536"/>
              <a:gd name="T11" fmla="*/ 0 60000 65536"/>
              <a:gd name="T12" fmla="*/ 0 w 815248"/>
              <a:gd name="T13" fmla="*/ 0 h 550844"/>
              <a:gd name="T14" fmla="*/ 815248 w 815248"/>
              <a:gd name="T15" fmla="*/ 550844 h 550844"/>
            </a:gdLst>
            <a:ahLst/>
            <a:cxnLst>
              <a:cxn ang="T8">
                <a:pos x="T0" y="T1"/>
              </a:cxn>
              <a:cxn ang="T9">
                <a:pos x="T2" y="T3"/>
              </a:cxn>
              <a:cxn ang="T10">
                <a:pos x="T4" y="T5"/>
              </a:cxn>
              <a:cxn ang="T11">
                <a:pos x="T6" y="T7"/>
              </a:cxn>
            </a:cxnLst>
            <a:rect l="T12" t="T13" r="T14" b="T15"/>
            <a:pathLst>
              <a:path w="815248" h="550844">
                <a:moveTo>
                  <a:pt x="0" y="550844"/>
                </a:moveTo>
                <a:lnTo>
                  <a:pt x="638978" y="0"/>
                </a:lnTo>
                <a:lnTo>
                  <a:pt x="815248" y="341523"/>
                </a:lnTo>
                <a:lnTo>
                  <a:pt x="0" y="550844"/>
                </a:lnTo>
                <a:close/>
              </a:path>
            </a:pathLst>
          </a:custGeom>
          <a:solidFill>
            <a:srgbClr val="6FC4C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04" name="任意多边形 39"/>
          <p:cNvSpPr>
            <a:spLocks noChangeArrowheads="1"/>
          </p:cNvSpPr>
          <p:nvPr userDrawn="1"/>
        </p:nvSpPr>
        <p:spPr bwMode="auto">
          <a:xfrm>
            <a:off x="1892300" y="1139825"/>
            <a:ext cx="1644650" cy="595313"/>
          </a:xfrm>
          <a:custGeom>
            <a:avLst/>
            <a:gdLst>
              <a:gd name="T0" fmla="*/ 0 w 2192356"/>
              <a:gd name="T1" fmla="*/ 782197 h 782197"/>
              <a:gd name="T2" fmla="*/ 727113 w 2192356"/>
              <a:gd name="T3" fmla="*/ 649995 h 782197"/>
              <a:gd name="T4" fmla="*/ 2192356 w 2192356"/>
              <a:gd name="T5" fmla="*/ 0 h 782197"/>
              <a:gd name="T6" fmla="*/ 0 w 2192356"/>
              <a:gd name="T7" fmla="*/ 782197 h 782197"/>
              <a:gd name="T8" fmla="*/ 0 60000 65536"/>
              <a:gd name="T9" fmla="*/ 0 60000 65536"/>
              <a:gd name="T10" fmla="*/ 0 60000 65536"/>
              <a:gd name="T11" fmla="*/ 0 60000 65536"/>
              <a:gd name="T12" fmla="*/ 0 w 2192356"/>
              <a:gd name="T13" fmla="*/ 0 h 782197"/>
              <a:gd name="T14" fmla="*/ 2192356 w 2192356"/>
              <a:gd name="T15" fmla="*/ 782197 h 782197"/>
            </a:gdLst>
            <a:ahLst/>
            <a:cxnLst>
              <a:cxn ang="T8">
                <a:pos x="T0" y="T1"/>
              </a:cxn>
              <a:cxn ang="T9">
                <a:pos x="T2" y="T3"/>
              </a:cxn>
              <a:cxn ang="T10">
                <a:pos x="T4" y="T5"/>
              </a:cxn>
              <a:cxn ang="T11">
                <a:pos x="T6" y="T7"/>
              </a:cxn>
            </a:cxnLst>
            <a:rect l="T12" t="T13" r="T14" b="T15"/>
            <a:pathLst>
              <a:path w="2192356" h="782197">
                <a:moveTo>
                  <a:pt x="0" y="782197"/>
                </a:moveTo>
                <a:lnTo>
                  <a:pt x="727113" y="649995"/>
                </a:lnTo>
                <a:lnTo>
                  <a:pt x="2192356" y="0"/>
                </a:lnTo>
                <a:lnTo>
                  <a:pt x="0" y="782197"/>
                </a:lnTo>
                <a:close/>
              </a:path>
            </a:pathLst>
          </a:custGeom>
          <a:solidFill>
            <a:srgbClr val="FBB619"/>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05" name="任意多边形 82"/>
          <p:cNvSpPr>
            <a:spLocks noChangeArrowheads="1"/>
          </p:cNvSpPr>
          <p:nvPr userDrawn="1"/>
        </p:nvSpPr>
        <p:spPr bwMode="auto">
          <a:xfrm>
            <a:off x="5222875" y="1198563"/>
            <a:ext cx="520700" cy="487362"/>
          </a:xfrm>
          <a:custGeom>
            <a:avLst/>
            <a:gdLst>
              <a:gd name="T0" fmla="*/ 672029 w 672029"/>
              <a:gd name="T1" fmla="*/ 0 h 649995"/>
              <a:gd name="T2" fmla="*/ 0 w 672029"/>
              <a:gd name="T3" fmla="*/ 649995 h 649995"/>
              <a:gd name="T4" fmla="*/ 154236 w 672029"/>
              <a:gd name="T5" fmla="*/ 231354 h 649995"/>
              <a:gd name="T6" fmla="*/ 672029 w 672029"/>
              <a:gd name="T7" fmla="*/ 0 h 649995"/>
              <a:gd name="T8" fmla="*/ 0 60000 65536"/>
              <a:gd name="T9" fmla="*/ 0 60000 65536"/>
              <a:gd name="T10" fmla="*/ 0 60000 65536"/>
              <a:gd name="T11" fmla="*/ 0 60000 65536"/>
              <a:gd name="T12" fmla="*/ 0 w 672029"/>
              <a:gd name="T13" fmla="*/ 0 h 649995"/>
              <a:gd name="T14" fmla="*/ 672029 w 672029"/>
              <a:gd name="T15" fmla="*/ 649995 h 649995"/>
            </a:gdLst>
            <a:ahLst/>
            <a:cxnLst>
              <a:cxn ang="T8">
                <a:pos x="T0" y="T1"/>
              </a:cxn>
              <a:cxn ang="T9">
                <a:pos x="T2" y="T3"/>
              </a:cxn>
              <a:cxn ang="T10">
                <a:pos x="T4" y="T5"/>
              </a:cxn>
              <a:cxn ang="T11">
                <a:pos x="T6" y="T7"/>
              </a:cxn>
            </a:cxnLst>
            <a:rect l="T12" t="T13" r="T14" b="T15"/>
            <a:pathLst>
              <a:path w="672029" h="649995">
                <a:moveTo>
                  <a:pt x="672029" y="0"/>
                </a:moveTo>
                <a:lnTo>
                  <a:pt x="0" y="649995"/>
                </a:lnTo>
                <a:lnTo>
                  <a:pt x="154236" y="231354"/>
                </a:lnTo>
                <a:lnTo>
                  <a:pt x="672029" y="0"/>
                </a:lnTo>
                <a:close/>
              </a:path>
            </a:pathLst>
          </a:custGeom>
          <a:solidFill>
            <a:srgbClr val="AA1D2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06" name="任意多边形 119"/>
          <p:cNvSpPr>
            <a:spLocks noChangeArrowheads="1"/>
          </p:cNvSpPr>
          <p:nvPr userDrawn="1"/>
        </p:nvSpPr>
        <p:spPr bwMode="auto">
          <a:xfrm>
            <a:off x="2279650" y="1536700"/>
            <a:ext cx="2281238" cy="701675"/>
          </a:xfrm>
          <a:custGeom>
            <a:avLst/>
            <a:gdLst>
              <a:gd name="T0" fmla="*/ 0 w 2974555"/>
              <a:gd name="T1" fmla="*/ 925417 h 925417"/>
              <a:gd name="T2" fmla="*/ 2974555 w 2974555"/>
              <a:gd name="T3" fmla="*/ 0 h 925417"/>
              <a:gd name="T4" fmla="*/ 2500829 w 2974555"/>
              <a:gd name="T5" fmla="*/ 484742 h 925417"/>
              <a:gd name="T6" fmla="*/ 0 w 2974555"/>
              <a:gd name="T7" fmla="*/ 925417 h 925417"/>
              <a:gd name="T8" fmla="*/ 0 60000 65536"/>
              <a:gd name="T9" fmla="*/ 0 60000 65536"/>
              <a:gd name="T10" fmla="*/ 0 60000 65536"/>
              <a:gd name="T11" fmla="*/ 0 60000 65536"/>
              <a:gd name="T12" fmla="*/ 0 w 2974555"/>
              <a:gd name="T13" fmla="*/ 0 h 925417"/>
              <a:gd name="T14" fmla="*/ 2974555 w 2974555"/>
              <a:gd name="T15" fmla="*/ 925417 h 925417"/>
            </a:gdLst>
            <a:ahLst/>
            <a:cxnLst>
              <a:cxn ang="T8">
                <a:pos x="T0" y="T1"/>
              </a:cxn>
              <a:cxn ang="T9">
                <a:pos x="T2" y="T3"/>
              </a:cxn>
              <a:cxn ang="T10">
                <a:pos x="T4" y="T5"/>
              </a:cxn>
              <a:cxn ang="T11">
                <a:pos x="T6" y="T7"/>
              </a:cxn>
            </a:cxnLst>
            <a:rect l="T12" t="T13" r="T14" b="T15"/>
            <a:pathLst>
              <a:path w="2974555" h="925417">
                <a:moveTo>
                  <a:pt x="0" y="925417"/>
                </a:moveTo>
                <a:lnTo>
                  <a:pt x="2974555" y="0"/>
                </a:lnTo>
                <a:lnTo>
                  <a:pt x="2500829" y="484742"/>
                </a:lnTo>
                <a:lnTo>
                  <a:pt x="0" y="925417"/>
                </a:lnTo>
                <a:close/>
              </a:path>
            </a:pathLst>
          </a:custGeom>
          <a:solidFill>
            <a:srgbClr val="EB263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07" name="任意多边形 120"/>
          <p:cNvSpPr>
            <a:spLocks noChangeArrowheads="1"/>
          </p:cNvSpPr>
          <p:nvPr userDrawn="1"/>
        </p:nvSpPr>
        <p:spPr bwMode="auto">
          <a:xfrm>
            <a:off x="-139700" y="4246563"/>
            <a:ext cx="255588" cy="265112"/>
          </a:xfrm>
          <a:custGeom>
            <a:avLst/>
            <a:gdLst>
              <a:gd name="T0" fmla="*/ 44068 w 341523"/>
              <a:gd name="T1" fmla="*/ 0 h 352540"/>
              <a:gd name="T2" fmla="*/ 341523 w 341523"/>
              <a:gd name="T3" fmla="*/ 352540 h 352540"/>
              <a:gd name="T4" fmla="*/ 0 w 341523"/>
              <a:gd name="T5" fmla="*/ 253388 h 352540"/>
              <a:gd name="T6" fmla="*/ 33051 w 341523"/>
              <a:gd name="T7" fmla="*/ 55084 h 352540"/>
              <a:gd name="T8" fmla="*/ 44068 w 341523"/>
              <a:gd name="T9" fmla="*/ 0 h 352540"/>
              <a:gd name="T10" fmla="*/ 0 60000 65536"/>
              <a:gd name="T11" fmla="*/ 0 60000 65536"/>
              <a:gd name="T12" fmla="*/ 0 60000 65536"/>
              <a:gd name="T13" fmla="*/ 0 60000 65536"/>
              <a:gd name="T14" fmla="*/ 0 60000 65536"/>
              <a:gd name="T15" fmla="*/ 0 w 341523"/>
              <a:gd name="T16" fmla="*/ 0 h 352540"/>
              <a:gd name="T17" fmla="*/ 341523 w 341523"/>
              <a:gd name="T18" fmla="*/ 352540 h 352540"/>
            </a:gdLst>
            <a:ahLst/>
            <a:cxnLst>
              <a:cxn ang="T10">
                <a:pos x="T0" y="T1"/>
              </a:cxn>
              <a:cxn ang="T11">
                <a:pos x="T2" y="T3"/>
              </a:cxn>
              <a:cxn ang="T12">
                <a:pos x="T4" y="T5"/>
              </a:cxn>
              <a:cxn ang="T13">
                <a:pos x="T6" y="T7"/>
              </a:cxn>
              <a:cxn ang="T14">
                <a:pos x="T8" y="T9"/>
              </a:cxn>
            </a:cxnLst>
            <a:rect l="T15" t="T16" r="T17" b="T18"/>
            <a:pathLst>
              <a:path w="341523" h="352540">
                <a:moveTo>
                  <a:pt x="44068" y="0"/>
                </a:moveTo>
                <a:lnTo>
                  <a:pt x="341523" y="352540"/>
                </a:lnTo>
                <a:lnTo>
                  <a:pt x="0" y="253388"/>
                </a:lnTo>
                <a:lnTo>
                  <a:pt x="33051" y="55084"/>
                </a:lnTo>
                <a:lnTo>
                  <a:pt x="44068" y="0"/>
                </a:lnTo>
                <a:close/>
              </a:path>
            </a:pathLst>
          </a:custGeom>
          <a:solidFill>
            <a:srgbClr val="E0345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08" name="任意多边形 122"/>
          <p:cNvSpPr>
            <a:spLocks noChangeArrowheads="1"/>
          </p:cNvSpPr>
          <p:nvPr userDrawn="1"/>
        </p:nvSpPr>
        <p:spPr bwMode="auto">
          <a:xfrm>
            <a:off x="1438275" y="3722688"/>
            <a:ext cx="279400" cy="214312"/>
          </a:xfrm>
          <a:custGeom>
            <a:avLst/>
            <a:gdLst>
              <a:gd name="T0" fmla="*/ 33051 w 374574"/>
              <a:gd name="T1" fmla="*/ 55085 h 286439"/>
              <a:gd name="T2" fmla="*/ 374574 w 374574"/>
              <a:gd name="T3" fmla="*/ 0 h 286439"/>
              <a:gd name="T4" fmla="*/ 0 w 374574"/>
              <a:gd name="T5" fmla="*/ 286439 h 286439"/>
              <a:gd name="T6" fmla="*/ 33051 w 374574"/>
              <a:gd name="T7" fmla="*/ 55085 h 286439"/>
              <a:gd name="T8" fmla="*/ 0 60000 65536"/>
              <a:gd name="T9" fmla="*/ 0 60000 65536"/>
              <a:gd name="T10" fmla="*/ 0 60000 65536"/>
              <a:gd name="T11" fmla="*/ 0 60000 65536"/>
              <a:gd name="T12" fmla="*/ 0 w 374574"/>
              <a:gd name="T13" fmla="*/ 0 h 286439"/>
              <a:gd name="T14" fmla="*/ 374574 w 374574"/>
              <a:gd name="T15" fmla="*/ 286439 h 286439"/>
            </a:gdLst>
            <a:ahLst/>
            <a:cxnLst>
              <a:cxn ang="T8">
                <a:pos x="T0" y="T1"/>
              </a:cxn>
              <a:cxn ang="T9">
                <a:pos x="T2" y="T3"/>
              </a:cxn>
              <a:cxn ang="T10">
                <a:pos x="T4" y="T5"/>
              </a:cxn>
              <a:cxn ang="T11">
                <a:pos x="T6" y="T7"/>
              </a:cxn>
            </a:cxnLst>
            <a:rect l="T12" t="T13" r="T14" b="T15"/>
            <a:pathLst>
              <a:path w="374574" h="286439">
                <a:moveTo>
                  <a:pt x="33051" y="55085"/>
                </a:moveTo>
                <a:lnTo>
                  <a:pt x="374574" y="0"/>
                </a:lnTo>
                <a:lnTo>
                  <a:pt x="0" y="286439"/>
                </a:lnTo>
                <a:lnTo>
                  <a:pt x="33051" y="55085"/>
                </a:lnTo>
                <a:close/>
              </a:path>
            </a:pathLst>
          </a:custGeom>
          <a:solidFill>
            <a:srgbClr val="CB428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09" name="任意多边形 126"/>
          <p:cNvSpPr>
            <a:spLocks noChangeArrowheads="1"/>
          </p:cNvSpPr>
          <p:nvPr userDrawn="1"/>
        </p:nvSpPr>
        <p:spPr bwMode="auto">
          <a:xfrm rot="6756059">
            <a:off x="4123532" y="4880769"/>
            <a:ext cx="173037" cy="98425"/>
          </a:xfrm>
          <a:custGeom>
            <a:avLst/>
            <a:gdLst>
              <a:gd name="T0" fmla="*/ 0 w 231354"/>
              <a:gd name="T1" fmla="*/ 0 h 132202"/>
              <a:gd name="T2" fmla="*/ 143219 w 231354"/>
              <a:gd name="T3" fmla="*/ 132202 h 132202"/>
              <a:gd name="T4" fmla="*/ 231354 w 231354"/>
              <a:gd name="T5" fmla="*/ 55084 h 132202"/>
              <a:gd name="T6" fmla="*/ 0 w 231354"/>
              <a:gd name="T7" fmla="*/ 0 h 132202"/>
              <a:gd name="T8" fmla="*/ 0 60000 65536"/>
              <a:gd name="T9" fmla="*/ 0 60000 65536"/>
              <a:gd name="T10" fmla="*/ 0 60000 65536"/>
              <a:gd name="T11" fmla="*/ 0 60000 65536"/>
              <a:gd name="T12" fmla="*/ 0 w 231354"/>
              <a:gd name="T13" fmla="*/ 0 h 132202"/>
              <a:gd name="T14" fmla="*/ 231354 w 231354"/>
              <a:gd name="T15" fmla="*/ 132202 h 132202"/>
            </a:gdLst>
            <a:ahLst/>
            <a:cxnLst>
              <a:cxn ang="T8">
                <a:pos x="T0" y="T1"/>
              </a:cxn>
              <a:cxn ang="T9">
                <a:pos x="T2" y="T3"/>
              </a:cxn>
              <a:cxn ang="T10">
                <a:pos x="T4" y="T5"/>
              </a:cxn>
              <a:cxn ang="T11">
                <a:pos x="T6" y="T7"/>
              </a:cxn>
            </a:cxnLst>
            <a:rect l="T12" t="T13" r="T14" b="T15"/>
            <a:pathLst>
              <a:path w="231354" h="132202">
                <a:moveTo>
                  <a:pt x="0" y="0"/>
                </a:moveTo>
                <a:lnTo>
                  <a:pt x="143219" y="132202"/>
                </a:lnTo>
                <a:lnTo>
                  <a:pt x="231354" y="55084"/>
                </a:lnTo>
                <a:lnTo>
                  <a:pt x="0" y="0"/>
                </a:lnTo>
                <a:close/>
              </a:path>
            </a:pathLst>
          </a:custGeom>
          <a:solidFill>
            <a:srgbClr val="EF5C5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10" name="任意多边形 135"/>
          <p:cNvSpPr>
            <a:spLocks noChangeArrowheads="1"/>
          </p:cNvSpPr>
          <p:nvPr userDrawn="1"/>
        </p:nvSpPr>
        <p:spPr bwMode="auto">
          <a:xfrm>
            <a:off x="6138863" y="2495550"/>
            <a:ext cx="206375" cy="214313"/>
          </a:xfrm>
          <a:custGeom>
            <a:avLst/>
            <a:gdLst>
              <a:gd name="T0" fmla="*/ 0 w 275421"/>
              <a:gd name="T1" fmla="*/ 33051 h 286439"/>
              <a:gd name="T2" fmla="*/ 275421 w 275421"/>
              <a:gd name="T3" fmla="*/ 0 h 286439"/>
              <a:gd name="T4" fmla="*/ 88135 w 275421"/>
              <a:gd name="T5" fmla="*/ 286439 h 286439"/>
              <a:gd name="T6" fmla="*/ 0 w 275421"/>
              <a:gd name="T7" fmla="*/ 33051 h 286439"/>
              <a:gd name="T8" fmla="*/ 0 60000 65536"/>
              <a:gd name="T9" fmla="*/ 0 60000 65536"/>
              <a:gd name="T10" fmla="*/ 0 60000 65536"/>
              <a:gd name="T11" fmla="*/ 0 60000 65536"/>
              <a:gd name="T12" fmla="*/ 0 w 275421"/>
              <a:gd name="T13" fmla="*/ 0 h 286439"/>
              <a:gd name="T14" fmla="*/ 275421 w 275421"/>
              <a:gd name="T15" fmla="*/ 286439 h 286439"/>
            </a:gdLst>
            <a:ahLst/>
            <a:cxnLst>
              <a:cxn ang="T8">
                <a:pos x="T0" y="T1"/>
              </a:cxn>
              <a:cxn ang="T9">
                <a:pos x="T2" y="T3"/>
              </a:cxn>
              <a:cxn ang="T10">
                <a:pos x="T4" y="T5"/>
              </a:cxn>
              <a:cxn ang="T11">
                <a:pos x="T6" y="T7"/>
              </a:cxn>
            </a:cxnLst>
            <a:rect l="T12" t="T13" r="T14" b="T15"/>
            <a:pathLst>
              <a:path w="275421" h="286439">
                <a:moveTo>
                  <a:pt x="0" y="33051"/>
                </a:moveTo>
                <a:lnTo>
                  <a:pt x="275421" y="0"/>
                </a:lnTo>
                <a:lnTo>
                  <a:pt x="88135" y="286439"/>
                </a:lnTo>
                <a:lnTo>
                  <a:pt x="0" y="33051"/>
                </a:lnTo>
                <a:close/>
              </a:path>
            </a:pathLst>
          </a:custGeom>
          <a:solidFill>
            <a:srgbClr val="3FC0F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11" name="任意多边形 136"/>
          <p:cNvSpPr>
            <a:spLocks noChangeArrowheads="1"/>
          </p:cNvSpPr>
          <p:nvPr userDrawn="1"/>
        </p:nvSpPr>
        <p:spPr bwMode="auto">
          <a:xfrm>
            <a:off x="8788400" y="2698750"/>
            <a:ext cx="174625" cy="98425"/>
          </a:xfrm>
          <a:custGeom>
            <a:avLst/>
            <a:gdLst>
              <a:gd name="T0" fmla="*/ 0 w 231354"/>
              <a:gd name="T1" fmla="*/ 0 h 132202"/>
              <a:gd name="T2" fmla="*/ 143219 w 231354"/>
              <a:gd name="T3" fmla="*/ 132202 h 132202"/>
              <a:gd name="T4" fmla="*/ 231354 w 231354"/>
              <a:gd name="T5" fmla="*/ 55084 h 132202"/>
              <a:gd name="T6" fmla="*/ 0 w 231354"/>
              <a:gd name="T7" fmla="*/ 0 h 132202"/>
              <a:gd name="T8" fmla="*/ 0 60000 65536"/>
              <a:gd name="T9" fmla="*/ 0 60000 65536"/>
              <a:gd name="T10" fmla="*/ 0 60000 65536"/>
              <a:gd name="T11" fmla="*/ 0 60000 65536"/>
              <a:gd name="T12" fmla="*/ 0 w 231354"/>
              <a:gd name="T13" fmla="*/ 0 h 132202"/>
              <a:gd name="T14" fmla="*/ 231354 w 231354"/>
              <a:gd name="T15" fmla="*/ 132202 h 132202"/>
            </a:gdLst>
            <a:ahLst/>
            <a:cxnLst>
              <a:cxn ang="T8">
                <a:pos x="T0" y="T1"/>
              </a:cxn>
              <a:cxn ang="T9">
                <a:pos x="T2" y="T3"/>
              </a:cxn>
              <a:cxn ang="T10">
                <a:pos x="T4" y="T5"/>
              </a:cxn>
              <a:cxn ang="T11">
                <a:pos x="T6" y="T7"/>
              </a:cxn>
            </a:cxnLst>
            <a:rect l="T12" t="T13" r="T14" b="T15"/>
            <a:pathLst>
              <a:path w="231354" h="132202">
                <a:moveTo>
                  <a:pt x="0" y="0"/>
                </a:moveTo>
                <a:lnTo>
                  <a:pt x="143219" y="132202"/>
                </a:lnTo>
                <a:lnTo>
                  <a:pt x="231354" y="55084"/>
                </a:lnTo>
                <a:lnTo>
                  <a:pt x="0" y="0"/>
                </a:lnTo>
                <a:close/>
              </a:path>
            </a:pathLst>
          </a:custGeom>
          <a:solidFill>
            <a:srgbClr val="F4594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12" name="任意多边形 137"/>
          <p:cNvSpPr>
            <a:spLocks noChangeArrowheads="1"/>
          </p:cNvSpPr>
          <p:nvPr userDrawn="1"/>
        </p:nvSpPr>
        <p:spPr bwMode="auto">
          <a:xfrm>
            <a:off x="7840663" y="1833563"/>
            <a:ext cx="247650" cy="198437"/>
          </a:xfrm>
          <a:custGeom>
            <a:avLst/>
            <a:gdLst>
              <a:gd name="T0" fmla="*/ 187286 w 330506"/>
              <a:gd name="T1" fmla="*/ 33050 h 264405"/>
              <a:gd name="T2" fmla="*/ 0 w 330506"/>
              <a:gd name="T3" fmla="*/ 264405 h 264405"/>
              <a:gd name="T4" fmla="*/ 330506 w 330506"/>
              <a:gd name="T5" fmla="*/ 0 h 264405"/>
              <a:gd name="T6" fmla="*/ 187286 w 330506"/>
              <a:gd name="T7" fmla="*/ 33050 h 264405"/>
              <a:gd name="T8" fmla="*/ 0 60000 65536"/>
              <a:gd name="T9" fmla="*/ 0 60000 65536"/>
              <a:gd name="T10" fmla="*/ 0 60000 65536"/>
              <a:gd name="T11" fmla="*/ 0 60000 65536"/>
              <a:gd name="T12" fmla="*/ 0 w 330506"/>
              <a:gd name="T13" fmla="*/ 0 h 264405"/>
              <a:gd name="T14" fmla="*/ 330506 w 330506"/>
              <a:gd name="T15" fmla="*/ 264405 h 264405"/>
            </a:gdLst>
            <a:ahLst/>
            <a:cxnLst>
              <a:cxn ang="T8">
                <a:pos x="T0" y="T1"/>
              </a:cxn>
              <a:cxn ang="T9">
                <a:pos x="T2" y="T3"/>
              </a:cxn>
              <a:cxn ang="T10">
                <a:pos x="T4" y="T5"/>
              </a:cxn>
              <a:cxn ang="T11">
                <a:pos x="T6" y="T7"/>
              </a:cxn>
            </a:cxnLst>
            <a:rect l="T12" t="T13" r="T14" b="T15"/>
            <a:pathLst>
              <a:path w="330506" h="264405">
                <a:moveTo>
                  <a:pt x="187286" y="33050"/>
                </a:moveTo>
                <a:lnTo>
                  <a:pt x="0" y="264405"/>
                </a:lnTo>
                <a:lnTo>
                  <a:pt x="330506" y="0"/>
                </a:lnTo>
                <a:lnTo>
                  <a:pt x="187286" y="33050"/>
                </a:lnTo>
                <a:close/>
              </a:path>
            </a:pathLst>
          </a:custGeom>
          <a:solidFill>
            <a:srgbClr val="1080B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13" name="任意多边形 138"/>
          <p:cNvSpPr>
            <a:spLocks noChangeArrowheads="1"/>
          </p:cNvSpPr>
          <p:nvPr userDrawn="1"/>
        </p:nvSpPr>
        <p:spPr bwMode="auto">
          <a:xfrm>
            <a:off x="6759575" y="1033463"/>
            <a:ext cx="279400" cy="214312"/>
          </a:xfrm>
          <a:custGeom>
            <a:avLst/>
            <a:gdLst>
              <a:gd name="T0" fmla="*/ 33051 w 374574"/>
              <a:gd name="T1" fmla="*/ 55085 h 286439"/>
              <a:gd name="T2" fmla="*/ 374574 w 374574"/>
              <a:gd name="T3" fmla="*/ 0 h 286439"/>
              <a:gd name="T4" fmla="*/ 0 w 374574"/>
              <a:gd name="T5" fmla="*/ 286439 h 286439"/>
              <a:gd name="T6" fmla="*/ 33051 w 374574"/>
              <a:gd name="T7" fmla="*/ 55085 h 286439"/>
              <a:gd name="T8" fmla="*/ 0 60000 65536"/>
              <a:gd name="T9" fmla="*/ 0 60000 65536"/>
              <a:gd name="T10" fmla="*/ 0 60000 65536"/>
              <a:gd name="T11" fmla="*/ 0 60000 65536"/>
              <a:gd name="T12" fmla="*/ 0 w 374574"/>
              <a:gd name="T13" fmla="*/ 0 h 286439"/>
              <a:gd name="T14" fmla="*/ 374574 w 374574"/>
              <a:gd name="T15" fmla="*/ 286439 h 286439"/>
            </a:gdLst>
            <a:ahLst/>
            <a:cxnLst>
              <a:cxn ang="T8">
                <a:pos x="T0" y="T1"/>
              </a:cxn>
              <a:cxn ang="T9">
                <a:pos x="T2" y="T3"/>
              </a:cxn>
              <a:cxn ang="T10">
                <a:pos x="T4" y="T5"/>
              </a:cxn>
              <a:cxn ang="T11">
                <a:pos x="T6" y="T7"/>
              </a:cxn>
            </a:cxnLst>
            <a:rect l="T12" t="T13" r="T14" b="T15"/>
            <a:pathLst>
              <a:path w="374574" h="286439">
                <a:moveTo>
                  <a:pt x="33051" y="55085"/>
                </a:moveTo>
                <a:lnTo>
                  <a:pt x="374574" y="0"/>
                </a:lnTo>
                <a:lnTo>
                  <a:pt x="0" y="286439"/>
                </a:lnTo>
                <a:lnTo>
                  <a:pt x="33051" y="55085"/>
                </a:lnTo>
                <a:close/>
              </a:path>
            </a:pathLst>
          </a:custGeom>
          <a:solidFill>
            <a:srgbClr val="045A8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14" name="任意多边形 139"/>
          <p:cNvSpPr>
            <a:spLocks noChangeArrowheads="1"/>
          </p:cNvSpPr>
          <p:nvPr userDrawn="1"/>
        </p:nvSpPr>
        <p:spPr bwMode="auto">
          <a:xfrm>
            <a:off x="508000" y="657225"/>
            <a:ext cx="173038" cy="98425"/>
          </a:xfrm>
          <a:custGeom>
            <a:avLst/>
            <a:gdLst>
              <a:gd name="T0" fmla="*/ 0 w 231354"/>
              <a:gd name="T1" fmla="*/ 0 h 132202"/>
              <a:gd name="T2" fmla="*/ 143219 w 231354"/>
              <a:gd name="T3" fmla="*/ 132202 h 132202"/>
              <a:gd name="T4" fmla="*/ 231354 w 231354"/>
              <a:gd name="T5" fmla="*/ 55084 h 132202"/>
              <a:gd name="T6" fmla="*/ 0 w 231354"/>
              <a:gd name="T7" fmla="*/ 0 h 132202"/>
              <a:gd name="T8" fmla="*/ 0 60000 65536"/>
              <a:gd name="T9" fmla="*/ 0 60000 65536"/>
              <a:gd name="T10" fmla="*/ 0 60000 65536"/>
              <a:gd name="T11" fmla="*/ 0 60000 65536"/>
              <a:gd name="T12" fmla="*/ 0 w 231354"/>
              <a:gd name="T13" fmla="*/ 0 h 132202"/>
              <a:gd name="T14" fmla="*/ 231354 w 231354"/>
              <a:gd name="T15" fmla="*/ 132202 h 132202"/>
            </a:gdLst>
            <a:ahLst/>
            <a:cxnLst>
              <a:cxn ang="T8">
                <a:pos x="T0" y="T1"/>
              </a:cxn>
              <a:cxn ang="T9">
                <a:pos x="T2" y="T3"/>
              </a:cxn>
              <a:cxn ang="T10">
                <a:pos x="T4" y="T5"/>
              </a:cxn>
              <a:cxn ang="T11">
                <a:pos x="T6" y="T7"/>
              </a:cxn>
            </a:cxnLst>
            <a:rect l="T12" t="T13" r="T14" b="T15"/>
            <a:pathLst>
              <a:path w="231354" h="132202">
                <a:moveTo>
                  <a:pt x="0" y="0"/>
                </a:moveTo>
                <a:lnTo>
                  <a:pt x="143219" y="132202"/>
                </a:lnTo>
                <a:lnTo>
                  <a:pt x="231354" y="55084"/>
                </a:lnTo>
                <a:lnTo>
                  <a:pt x="0" y="0"/>
                </a:lnTo>
                <a:close/>
              </a:path>
            </a:pathLst>
          </a:custGeom>
          <a:solidFill>
            <a:srgbClr val="A11D2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15" name="任意多边形 140"/>
          <p:cNvSpPr>
            <a:spLocks noChangeArrowheads="1"/>
          </p:cNvSpPr>
          <p:nvPr userDrawn="1"/>
        </p:nvSpPr>
        <p:spPr bwMode="auto">
          <a:xfrm>
            <a:off x="1970088" y="962025"/>
            <a:ext cx="247650" cy="198438"/>
          </a:xfrm>
          <a:custGeom>
            <a:avLst/>
            <a:gdLst>
              <a:gd name="T0" fmla="*/ 187286 w 330506"/>
              <a:gd name="T1" fmla="*/ 33050 h 264405"/>
              <a:gd name="T2" fmla="*/ 0 w 330506"/>
              <a:gd name="T3" fmla="*/ 264405 h 264405"/>
              <a:gd name="T4" fmla="*/ 330506 w 330506"/>
              <a:gd name="T5" fmla="*/ 0 h 264405"/>
              <a:gd name="T6" fmla="*/ 187286 w 330506"/>
              <a:gd name="T7" fmla="*/ 33050 h 264405"/>
              <a:gd name="T8" fmla="*/ 0 60000 65536"/>
              <a:gd name="T9" fmla="*/ 0 60000 65536"/>
              <a:gd name="T10" fmla="*/ 0 60000 65536"/>
              <a:gd name="T11" fmla="*/ 0 60000 65536"/>
              <a:gd name="T12" fmla="*/ 0 w 330506"/>
              <a:gd name="T13" fmla="*/ 0 h 264405"/>
              <a:gd name="T14" fmla="*/ 330506 w 330506"/>
              <a:gd name="T15" fmla="*/ 264405 h 264405"/>
            </a:gdLst>
            <a:ahLst/>
            <a:cxnLst>
              <a:cxn ang="T8">
                <a:pos x="T0" y="T1"/>
              </a:cxn>
              <a:cxn ang="T9">
                <a:pos x="T2" y="T3"/>
              </a:cxn>
              <a:cxn ang="T10">
                <a:pos x="T4" y="T5"/>
              </a:cxn>
              <a:cxn ang="T11">
                <a:pos x="T6" y="T7"/>
              </a:cxn>
            </a:cxnLst>
            <a:rect l="T12" t="T13" r="T14" b="T15"/>
            <a:pathLst>
              <a:path w="330506" h="264405">
                <a:moveTo>
                  <a:pt x="187286" y="33050"/>
                </a:moveTo>
                <a:lnTo>
                  <a:pt x="0" y="264405"/>
                </a:lnTo>
                <a:lnTo>
                  <a:pt x="330506" y="0"/>
                </a:lnTo>
                <a:lnTo>
                  <a:pt x="187286" y="33050"/>
                </a:lnTo>
                <a:close/>
              </a:path>
            </a:pathLst>
          </a:custGeom>
          <a:solidFill>
            <a:srgbClr val="F5942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16" name="任意多边形 142"/>
          <p:cNvSpPr>
            <a:spLocks noChangeArrowheads="1"/>
          </p:cNvSpPr>
          <p:nvPr userDrawn="1"/>
        </p:nvSpPr>
        <p:spPr bwMode="auto">
          <a:xfrm>
            <a:off x="3990975" y="639763"/>
            <a:ext cx="280988" cy="214312"/>
          </a:xfrm>
          <a:custGeom>
            <a:avLst/>
            <a:gdLst>
              <a:gd name="T0" fmla="*/ 33051 w 374574"/>
              <a:gd name="T1" fmla="*/ 55085 h 286439"/>
              <a:gd name="T2" fmla="*/ 374574 w 374574"/>
              <a:gd name="T3" fmla="*/ 0 h 286439"/>
              <a:gd name="T4" fmla="*/ 0 w 374574"/>
              <a:gd name="T5" fmla="*/ 286439 h 286439"/>
              <a:gd name="T6" fmla="*/ 33051 w 374574"/>
              <a:gd name="T7" fmla="*/ 55085 h 286439"/>
              <a:gd name="T8" fmla="*/ 0 60000 65536"/>
              <a:gd name="T9" fmla="*/ 0 60000 65536"/>
              <a:gd name="T10" fmla="*/ 0 60000 65536"/>
              <a:gd name="T11" fmla="*/ 0 60000 65536"/>
              <a:gd name="T12" fmla="*/ 0 w 374574"/>
              <a:gd name="T13" fmla="*/ 0 h 286439"/>
              <a:gd name="T14" fmla="*/ 374574 w 374574"/>
              <a:gd name="T15" fmla="*/ 286439 h 286439"/>
            </a:gdLst>
            <a:ahLst/>
            <a:cxnLst>
              <a:cxn ang="T8">
                <a:pos x="T0" y="T1"/>
              </a:cxn>
              <a:cxn ang="T9">
                <a:pos x="T2" y="T3"/>
              </a:cxn>
              <a:cxn ang="T10">
                <a:pos x="T4" y="T5"/>
              </a:cxn>
              <a:cxn ang="T11">
                <a:pos x="T6" y="T7"/>
              </a:cxn>
            </a:cxnLst>
            <a:rect l="T12" t="T13" r="T14" b="T15"/>
            <a:pathLst>
              <a:path w="374574" h="286439">
                <a:moveTo>
                  <a:pt x="33051" y="55085"/>
                </a:moveTo>
                <a:lnTo>
                  <a:pt x="374574" y="0"/>
                </a:lnTo>
                <a:lnTo>
                  <a:pt x="0" y="286439"/>
                </a:lnTo>
                <a:lnTo>
                  <a:pt x="33051" y="55085"/>
                </a:lnTo>
                <a:close/>
              </a:path>
            </a:pathLst>
          </a:custGeom>
          <a:solidFill>
            <a:srgbClr val="4DC3C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17" name="任意多边形 144"/>
          <p:cNvSpPr>
            <a:spLocks noChangeArrowheads="1"/>
          </p:cNvSpPr>
          <p:nvPr userDrawn="1"/>
        </p:nvSpPr>
        <p:spPr bwMode="auto">
          <a:xfrm>
            <a:off x="2786063" y="4511675"/>
            <a:ext cx="173037" cy="98425"/>
          </a:xfrm>
          <a:custGeom>
            <a:avLst/>
            <a:gdLst>
              <a:gd name="T0" fmla="*/ 0 w 231354"/>
              <a:gd name="T1" fmla="*/ 0 h 132202"/>
              <a:gd name="T2" fmla="*/ 143219 w 231354"/>
              <a:gd name="T3" fmla="*/ 132202 h 132202"/>
              <a:gd name="T4" fmla="*/ 231354 w 231354"/>
              <a:gd name="T5" fmla="*/ 55084 h 132202"/>
              <a:gd name="T6" fmla="*/ 0 w 231354"/>
              <a:gd name="T7" fmla="*/ 0 h 132202"/>
              <a:gd name="T8" fmla="*/ 0 60000 65536"/>
              <a:gd name="T9" fmla="*/ 0 60000 65536"/>
              <a:gd name="T10" fmla="*/ 0 60000 65536"/>
              <a:gd name="T11" fmla="*/ 0 60000 65536"/>
              <a:gd name="T12" fmla="*/ 0 w 231354"/>
              <a:gd name="T13" fmla="*/ 0 h 132202"/>
              <a:gd name="T14" fmla="*/ 231354 w 231354"/>
              <a:gd name="T15" fmla="*/ 132202 h 132202"/>
            </a:gdLst>
            <a:ahLst/>
            <a:cxnLst>
              <a:cxn ang="T8">
                <a:pos x="T0" y="T1"/>
              </a:cxn>
              <a:cxn ang="T9">
                <a:pos x="T2" y="T3"/>
              </a:cxn>
              <a:cxn ang="T10">
                <a:pos x="T4" y="T5"/>
              </a:cxn>
              <a:cxn ang="T11">
                <a:pos x="T6" y="T7"/>
              </a:cxn>
            </a:cxnLst>
            <a:rect l="T12" t="T13" r="T14" b="T15"/>
            <a:pathLst>
              <a:path w="231354" h="132202">
                <a:moveTo>
                  <a:pt x="0" y="0"/>
                </a:moveTo>
                <a:lnTo>
                  <a:pt x="143219" y="132202"/>
                </a:lnTo>
                <a:lnTo>
                  <a:pt x="231354" y="55084"/>
                </a:lnTo>
                <a:lnTo>
                  <a:pt x="0" y="0"/>
                </a:lnTo>
                <a:close/>
              </a:path>
            </a:pathLst>
          </a:custGeom>
          <a:solidFill>
            <a:srgbClr val="34110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p>
            <a:pPr algn="ctr"/>
            <a:endParaRPr lang="zh-CN" altLang="zh-CN" sz="1000">
              <a:solidFill>
                <a:srgbClr val="FFFFFF"/>
              </a:solidFill>
              <a:latin typeface="宋体" panose="02010600030101010101" pitchFamily="2" charset="-122"/>
              <a:sym typeface="宋体" panose="02010600030101010101" pitchFamily="2" charset="-122"/>
            </a:endParaRPr>
          </a:p>
        </p:txBody>
      </p:sp>
      <p:sp>
        <p:nvSpPr>
          <p:cNvPr id="118" name="TextBox 11"/>
          <p:cNvSpPr>
            <a:spLocks noChangeArrowheads="1"/>
          </p:cNvSpPr>
          <p:nvPr userDrawn="1"/>
        </p:nvSpPr>
        <p:spPr bwMode="auto">
          <a:xfrm>
            <a:off x="4195763" y="3276600"/>
            <a:ext cx="5000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zh-CN" altLang="en-US" sz="1200">
                <a:solidFill>
                  <a:schemeClr val="bg1"/>
                </a:solidFill>
                <a:latin typeface="Yuanti SC Regular" charset="0"/>
                <a:ea typeface="微软雅黑" panose="020B0503020204020204" pitchFamily="34" charset="-122"/>
                <a:sym typeface="Yuanti SC Regular" charset="0"/>
              </a:rPr>
              <a:t>案</a:t>
            </a:r>
            <a:endParaRPr lang="en-US" altLang="zh-CN" sz="1200">
              <a:solidFill>
                <a:schemeClr val="bg1"/>
              </a:solidFill>
              <a:latin typeface="Yuanti SC Regular" charset="0"/>
              <a:ea typeface="微软雅黑" panose="020B0503020204020204" pitchFamily="34" charset="-122"/>
              <a:sym typeface="Yuanti SC Regular" charset="0"/>
            </a:endParaRPr>
          </a:p>
          <a:p>
            <a:pPr algn="r"/>
            <a:r>
              <a:rPr lang="zh-CN" altLang="en-US" sz="1200">
                <a:solidFill>
                  <a:schemeClr val="bg1"/>
                </a:solidFill>
                <a:latin typeface="Yuanti SC Regular" charset="0"/>
                <a:ea typeface="微软雅黑" panose="020B0503020204020204" pitchFamily="34" charset="-122"/>
                <a:sym typeface="Yuanti SC Regular" charset="0"/>
              </a:rPr>
              <a:t>例</a:t>
            </a:r>
            <a:endParaRPr lang="zh-CN" altLang="en-US" sz="120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824AF190-E6C3-4F71-9AD4-820770AEF1A8}"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5B5BF9F-75C6-42BD-8363-2F606FE0B601}"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54781"/>
            <a:ext cx="2057400" cy="329088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457200" y="154781"/>
            <a:ext cx="6019800" cy="3290888"/>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824AF190-E6C3-4F71-9AD4-820770AEF1A8}"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5B5BF9F-75C6-42BD-8363-2F606FE0B601}"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824AF190-E6C3-4F71-9AD4-820770AEF1A8}"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5B5BF9F-75C6-42BD-8363-2F606FE0B601}"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a:t>单击此处编辑母版标题样式</a:t>
            </a:r>
            <a:endParaRPr lang="zh-CN" altLang="en-US"/>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824AF190-E6C3-4F71-9AD4-820770AEF1A8}"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5B5BF9F-75C6-42BD-8363-2F606FE0B601}"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824AF190-E6C3-4F71-9AD4-820770AEF1A8}"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5B5BF9F-75C6-42BD-8363-2F606FE0B601}"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p:spPr>
        <p:txBody>
          <a:bodyPr/>
          <a:lstStyle>
            <a:lvl1pPr>
              <a:defRPr/>
            </a:lvl1pPr>
          </a:lstStyle>
          <a:p>
            <a:r>
              <a:rPr lang="zh-CN" altLang="en-US"/>
              <a:t>单击此处编辑母版标题样式</a:t>
            </a:r>
            <a:endParaRPr lang="zh-CN" altLang="en-US"/>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824AF190-E6C3-4F71-9AD4-820770AEF1A8}"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5B5BF9F-75C6-42BD-8363-2F606FE0B601}"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824AF190-E6C3-4F71-9AD4-820770AEF1A8}"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5B5BF9F-75C6-42BD-8363-2F606FE0B601}"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24AF190-E6C3-4F71-9AD4-820770AEF1A8}"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5B5BF9F-75C6-42BD-8363-2F606FE0B601}"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p:spPr>
        <p:txBody>
          <a:bodyPr anchor="b"/>
          <a:lstStyle>
            <a:lvl1pPr algn="l">
              <a:defRPr sz="2000" b="1"/>
            </a:lvl1pPr>
          </a:lstStyle>
          <a:p>
            <a:r>
              <a:rPr lang="zh-CN" altLang="en-US"/>
              <a:t>单击此处编辑母版标题样式</a:t>
            </a:r>
            <a:endParaRPr lang="zh-CN" altLang="en-US"/>
          </a:p>
        </p:txBody>
      </p:sp>
      <p:sp>
        <p:nvSpPr>
          <p:cNvPr id="3" name="内容占位符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24AF190-E6C3-4F71-9AD4-820770AEF1A8}"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5B5BF9F-75C6-42BD-8363-2F606FE0B601}"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2000" b="1"/>
            </a:lvl1pPr>
          </a:lstStyle>
          <a:p>
            <a:r>
              <a:rPr lang="zh-CN" altLang="en-US"/>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24AF190-E6C3-4F71-9AD4-820770AEF1A8}"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5B5BF9F-75C6-42BD-8363-2F606FE0B601}"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7" Type="http://schemas.openxmlformats.org/officeDocument/2006/relationships/theme" Target="../theme/theme1.xml"/><Relationship Id="rId16" Type="http://schemas.openxmlformats.org/officeDocument/2006/relationships/vmlDrawing" Target="../drawings/vmlDrawing1.vml"/><Relationship Id="rId15" Type="http://schemas.openxmlformats.org/officeDocument/2006/relationships/image" Target="../media/image2.emf"/><Relationship Id="rId14" Type="http://schemas.openxmlformats.org/officeDocument/2006/relationships/oleObject" Target="../embeddings/oleObject1.bin"/><Relationship Id="rId13" Type="http://schemas.openxmlformats.org/officeDocument/2006/relationships/tags" Target="../tags/tag1.xml"/><Relationship Id="rId12" Type="http://schemas.openxmlformats.org/officeDocument/2006/relationships/image" Target="../media/image1.png"/><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14" imgW="5715" imgH="5715" progId="">
                  <p:embed/>
                </p:oleObj>
              </mc:Choice>
              <mc:Fallback>
                <p:oleObj name="think-cell Slide" r:id="rId14" imgW="5715" imgH="5715" progId="">
                  <p:embed/>
                  <p:pic>
                    <p:nvPicPr>
                      <p:cNvPr id="0" name="图片 1024"/>
                      <p:cNvPicPr>
                        <a:picLocks noChangeAspect="1"/>
                      </p:cNvPicPr>
                      <p:nvPr/>
                    </p:nvPicPr>
                    <p:blipFill>
                      <a:blip r:embed="rId15"/>
                      <a:stretch>
                        <a:fillRect/>
                      </a:stretch>
                    </p:blipFill>
                    <p:spPr>
                      <a:xfrm>
                        <a:off x="1588" y="1588"/>
                        <a:ext cx="1587" cy="1587"/>
                      </a:xfrm>
                      <a:prstGeom prst="rect">
                        <a:avLst/>
                      </a:prstGeom>
                      <a:noFill/>
                      <a:ln w="9525">
                        <a:noFill/>
                      </a:ln>
                    </p:spPr>
                  </p:pic>
                </p:oleObj>
              </mc:Fallback>
            </mc:AlternateContent>
          </a:graphicData>
        </a:graphic>
      </p:graphicFrame>
      <p:sp>
        <p:nvSpPr>
          <p:cNvPr id="2" name="标题占位符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824AF190-E6C3-4F71-9AD4-820770AEF1A8}" type="datetimeFigureOut">
              <a:rPr lang="zh-CN" altLang="en-US" smtClean="0"/>
            </a:fld>
            <a:endParaRPr lang="zh-CN" altLang="en-US"/>
          </a:p>
        </p:txBody>
      </p:sp>
      <p:sp>
        <p:nvSpPr>
          <p:cNvPr id="5" name="页脚占位符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B5B5BF9F-75C6-42BD-8363-2F606FE0B601}"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tags" Target="../tags/tag7.xml"/><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image" Target="../media/image4.png"/></Relationships>
</file>

<file path=ppt/slides/_rels/slide11.xml.rels><?xml version="1.0" encoding="UTF-8" standalone="yes"?>
<Relationships xmlns="http://schemas.openxmlformats.org/package/2006/relationships"><Relationship Id="rId9" Type="http://schemas.openxmlformats.org/officeDocument/2006/relationships/vmlDrawing" Target="../drawings/vmlDrawing2.vml"/><Relationship Id="rId8" Type="http://schemas.openxmlformats.org/officeDocument/2006/relationships/slideLayout" Target="../slideLayouts/slideLayout7.xml"/><Relationship Id="rId7" Type="http://schemas.openxmlformats.org/officeDocument/2006/relationships/tags" Target="../tags/tag9.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 Id="rId3" Type="http://schemas.openxmlformats.org/officeDocument/2006/relationships/image" Target="../media/image2.emf"/><Relationship Id="rId2" Type="http://schemas.openxmlformats.org/officeDocument/2006/relationships/oleObject" Target="../embeddings/oleObject2.bin"/><Relationship Id="rId10" Type="http://schemas.openxmlformats.org/officeDocument/2006/relationships/notesSlide" Target="../notesSlides/notesSlide11.xml"/><Relationship Id="rId1" Type="http://schemas.openxmlformats.org/officeDocument/2006/relationships/tags" Target="../tags/tag8.xml"/></Relationships>
</file>

<file path=ppt/slides/_rels/slide12.xml.rels><?xml version="1.0" encoding="UTF-8" standalone="yes"?>
<Relationships xmlns="http://schemas.openxmlformats.org/package/2006/relationships"><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10.xml"/><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image" Target="../media/image4.png"/></Relationships>
</file>

<file path=ppt/slides/_rels/slide13.xml.rels><?xml version="1.0" encoding="UTF-8" standalone="yes"?>
<Relationships xmlns="http://schemas.openxmlformats.org/package/2006/relationships"><Relationship Id="rId6" Type="http://schemas.openxmlformats.org/officeDocument/2006/relationships/notesSlide" Target="../notesSlides/notesSlide13.xml"/><Relationship Id="rId5" Type="http://schemas.openxmlformats.org/officeDocument/2006/relationships/slideLayout" Target="../slideLayouts/slideLayout2.xml"/><Relationship Id="rId4" Type="http://schemas.openxmlformats.org/officeDocument/2006/relationships/tags" Target="../tags/tag11.xml"/><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image" Target="../media/image3.jpeg"/></Relationships>
</file>

<file path=ppt/slides/_rels/slide15.xml.rels><?xml version="1.0" encoding="UTF-8" standalone="yes"?>
<Relationships xmlns="http://schemas.openxmlformats.org/package/2006/relationships"><Relationship Id="rId6" Type="http://schemas.openxmlformats.org/officeDocument/2006/relationships/notesSlide" Target="../notesSlides/notesSlide15.xml"/><Relationship Id="rId5" Type="http://schemas.openxmlformats.org/officeDocument/2006/relationships/slideLayout" Target="../slideLayouts/slideLayout2.xml"/><Relationship Id="rId4" Type="http://schemas.openxmlformats.org/officeDocument/2006/relationships/tags" Target="../tags/tag12.xml"/><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image" Target="../media/image4.png"/></Relationships>
</file>

<file path=ppt/slides/_rels/slide16.xml.rels><?xml version="1.0" encoding="UTF-8" standalone="yes"?>
<Relationships xmlns="http://schemas.openxmlformats.org/package/2006/relationships"><Relationship Id="rId9" Type="http://schemas.openxmlformats.org/officeDocument/2006/relationships/notesSlide" Target="../notesSlides/notesSlide16.xml"/><Relationship Id="rId8" Type="http://schemas.openxmlformats.org/officeDocument/2006/relationships/vmlDrawing" Target="../drawings/vmlDrawing3.vml"/><Relationship Id="rId7"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 Id="rId3" Type="http://schemas.openxmlformats.org/officeDocument/2006/relationships/image" Target="../media/image2.emf"/><Relationship Id="rId2" Type="http://schemas.openxmlformats.org/officeDocument/2006/relationships/oleObject" Target="../embeddings/oleObject3.bin"/><Relationship Id="rId1" Type="http://schemas.openxmlformats.org/officeDocument/2006/relationships/tags" Target="../tags/tag13.xml"/></Relationships>
</file>

<file path=ppt/slides/_rels/slide17.xml.rels><?xml version="1.0" encoding="UTF-8" standalone="yes"?>
<Relationships xmlns="http://schemas.openxmlformats.org/package/2006/relationships"><Relationship Id="rId9" Type="http://schemas.openxmlformats.org/officeDocument/2006/relationships/vmlDrawing" Target="../drawings/vmlDrawing4.vml"/><Relationship Id="rId8" Type="http://schemas.openxmlformats.org/officeDocument/2006/relationships/slideLayout" Target="../slideLayouts/slideLayout2.xml"/><Relationship Id="rId7" Type="http://schemas.openxmlformats.org/officeDocument/2006/relationships/tags" Target="../tags/tag15.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 Id="rId3" Type="http://schemas.openxmlformats.org/officeDocument/2006/relationships/image" Target="../media/image2.emf"/><Relationship Id="rId2" Type="http://schemas.openxmlformats.org/officeDocument/2006/relationships/oleObject" Target="../embeddings/oleObject4.bin"/><Relationship Id="rId10" Type="http://schemas.openxmlformats.org/officeDocument/2006/relationships/notesSlide" Target="../notesSlides/notesSlide17.xml"/><Relationship Id="rId1" Type="http://schemas.openxmlformats.org/officeDocument/2006/relationships/tags" Target="../tags/tag14.xml"/></Relationships>
</file>

<file path=ppt/slides/_rels/slide18.xml.rels><?xml version="1.0" encoding="UTF-8" standalone="yes"?>
<Relationships xmlns="http://schemas.openxmlformats.org/package/2006/relationships"><Relationship Id="rId5" Type="http://schemas.openxmlformats.org/officeDocument/2006/relationships/notesSlide" Target="../notesSlides/notesSlide18.xml"/><Relationship Id="rId4" Type="http://schemas.openxmlformats.org/officeDocument/2006/relationships/slideLayout" Target="../slideLayouts/slideLayout2.xml"/><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image" Target="../media/image4.png"/></Relationships>
</file>

<file path=ppt/slides/_rels/slide19.xml.rels><?xml version="1.0" encoding="UTF-8" standalone="yes"?>
<Relationships xmlns="http://schemas.openxmlformats.org/package/2006/relationships"><Relationship Id="rId9" Type="http://schemas.openxmlformats.org/officeDocument/2006/relationships/vmlDrawing" Target="../drawings/vmlDrawing5.vml"/><Relationship Id="rId8" Type="http://schemas.openxmlformats.org/officeDocument/2006/relationships/slideLayout" Target="../slideLayouts/slideLayout2.xml"/><Relationship Id="rId7" Type="http://schemas.openxmlformats.org/officeDocument/2006/relationships/tags" Target="../tags/tag17.xml"/><Relationship Id="rId6" Type="http://schemas.openxmlformats.org/officeDocument/2006/relationships/image" Target="../media/image6.jpeg"/><Relationship Id="rId5" Type="http://schemas.openxmlformats.org/officeDocument/2006/relationships/image" Target="../media/image4.png"/><Relationship Id="rId4" Type="http://schemas.openxmlformats.org/officeDocument/2006/relationships/image" Target="../media/image2.emf"/><Relationship Id="rId3" Type="http://schemas.openxmlformats.org/officeDocument/2006/relationships/oleObject" Target="../embeddings/oleObject5.bin"/><Relationship Id="rId2" Type="http://schemas.openxmlformats.org/officeDocument/2006/relationships/tags" Target="../tags/tag16.xml"/><Relationship Id="rId10" Type="http://schemas.openxmlformats.org/officeDocument/2006/relationships/notesSlide" Target="../notesSlides/notesSlide19.xml"/><Relationship Id="rId1" Type="http://schemas.openxmlformats.org/officeDocument/2006/relationships/image" Target="../media/image5.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9" Type="http://schemas.openxmlformats.org/officeDocument/2006/relationships/vmlDrawing" Target="../drawings/vmlDrawing6.vml"/><Relationship Id="rId8" Type="http://schemas.openxmlformats.org/officeDocument/2006/relationships/slideLayout" Target="../slideLayouts/slideLayout2.xml"/><Relationship Id="rId7" Type="http://schemas.openxmlformats.org/officeDocument/2006/relationships/tags" Target="../tags/tag19.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 Id="rId3" Type="http://schemas.openxmlformats.org/officeDocument/2006/relationships/image" Target="../media/image2.emf"/><Relationship Id="rId2" Type="http://schemas.openxmlformats.org/officeDocument/2006/relationships/oleObject" Target="../embeddings/oleObject6.bin"/><Relationship Id="rId10" Type="http://schemas.openxmlformats.org/officeDocument/2006/relationships/notesSlide" Target="../notesSlides/notesSlide20.xml"/><Relationship Id="rId1" Type="http://schemas.openxmlformats.org/officeDocument/2006/relationships/tags" Target="../tags/tag18.xml"/></Relationships>
</file>

<file path=ppt/slides/_rels/slide21.xml.rels><?xml version="1.0" encoding="UTF-8" standalone="yes"?>
<Relationships xmlns="http://schemas.openxmlformats.org/package/2006/relationships"><Relationship Id="rId9" Type="http://schemas.openxmlformats.org/officeDocument/2006/relationships/vmlDrawing" Target="../drawings/vmlDrawing7.vml"/><Relationship Id="rId8" Type="http://schemas.openxmlformats.org/officeDocument/2006/relationships/slideLayout" Target="../slideLayouts/slideLayout2.xml"/><Relationship Id="rId7" Type="http://schemas.openxmlformats.org/officeDocument/2006/relationships/tags" Target="../tags/tag2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 Id="rId3" Type="http://schemas.openxmlformats.org/officeDocument/2006/relationships/image" Target="../media/image2.emf"/><Relationship Id="rId2" Type="http://schemas.openxmlformats.org/officeDocument/2006/relationships/oleObject" Target="../embeddings/oleObject7.bin"/><Relationship Id="rId10" Type="http://schemas.openxmlformats.org/officeDocument/2006/relationships/notesSlide" Target="../notesSlides/notesSlide21.xml"/><Relationship Id="rId1" Type="http://schemas.openxmlformats.org/officeDocument/2006/relationships/tags" Target="../tags/tag20.xml"/></Relationships>
</file>

<file path=ppt/slides/_rels/slide22.xml.rels><?xml version="1.0" encoding="UTF-8" standalone="yes"?>
<Relationships xmlns="http://schemas.openxmlformats.org/package/2006/relationships"><Relationship Id="rId9" Type="http://schemas.openxmlformats.org/officeDocument/2006/relationships/vmlDrawing" Target="../drawings/vmlDrawing8.vml"/><Relationship Id="rId8" Type="http://schemas.openxmlformats.org/officeDocument/2006/relationships/slideLayout" Target="../slideLayouts/slideLayout2.xml"/><Relationship Id="rId7" Type="http://schemas.openxmlformats.org/officeDocument/2006/relationships/tags" Target="../tags/tag23.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 Id="rId3" Type="http://schemas.openxmlformats.org/officeDocument/2006/relationships/image" Target="../media/image2.emf"/><Relationship Id="rId2" Type="http://schemas.openxmlformats.org/officeDocument/2006/relationships/oleObject" Target="../embeddings/oleObject8.bin"/><Relationship Id="rId10" Type="http://schemas.openxmlformats.org/officeDocument/2006/relationships/notesSlide" Target="../notesSlides/notesSlide22.xml"/><Relationship Id="rId1" Type="http://schemas.openxmlformats.org/officeDocument/2006/relationships/tags" Target="../tags/tag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image" Target="../media/image3.jpeg"/></Relationships>
</file>

<file path=ppt/slides/_rels/slide24.xml.rels><?xml version="1.0" encoding="UTF-8" standalone="yes"?>
<Relationships xmlns="http://schemas.openxmlformats.org/package/2006/relationships"><Relationship Id="rId9" Type="http://schemas.openxmlformats.org/officeDocument/2006/relationships/vmlDrawing" Target="../drawings/vmlDrawing9.vml"/><Relationship Id="rId8" Type="http://schemas.openxmlformats.org/officeDocument/2006/relationships/slideLayout" Target="../slideLayouts/slideLayout2.xml"/><Relationship Id="rId7" Type="http://schemas.openxmlformats.org/officeDocument/2006/relationships/tags" Target="../tags/tag25.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 Id="rId3" Type="http://schemas.openxmlformats.org/officeDocument/2006/relationships/image" Target="../media/image2.emf"/><Relationship Id="rId2" Type="http://schemas.openxmlformats.org/officeDocument/2006/relationships/oleObject" Target="../embeddings/oleObject9.bin"/><Relationship Id="rId10" Type="http://schemas.openxmlformats.org/officeDocument/2006/relationships/notesSlide" Target="../notesSlides/notesSlide24.xml"/><Relationship Id="rId1" Type="http://schemas.openxmlformats.org/officeDocument/2006/relationships/tags" Target="../tags/tag24.xml"/></Relationships>
</file>

<file path=ppt/slides/_rels/slide25.xml.rels><?xml version="1.0" encoding="UTF-8" standalone="yes"?>
<Relationships xmlns="http://schemas.openxmlformats.org/package/2006/relationships"><Relationship Id="rId9" Type="http://schemas.openxmlformats.org/officeDocument/2006/relationships/vmlDrawing" Target="../drawings/vmlDrawing10.vml"/><Relationship Id="rId8" Type="http://schemas.openxmlformats.org/officeDocument/2006/relationships/slideLayout" Target="../slideLayouts/slideLayout2.xml"/><Relationship Id="rId7" Type="http://schemas.openxmlformats.org/officeDocument/2006/relationships/tags" Target="../tags/tag27.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 Id="rId3" Type="http://schemas.openxmlformats.org/officeDocument/2006/relationships/image" Target="../media/image2.emf"/><Relationship Id="rId2" Type="http://schemas.openxmlformats.org/officeDocument/2006/relationships/oleObject" Target="../embeddings/oleObject10.bin"/><Relationship Id="rId10" Type="http://schemas.openxmlformats.org/officeDocument/2006/relationships/notesSlide" Target="../notesSlides/notesSlide25.xml"/><Relationship Id="rId1" Type="http://schemas.openxmlformats.org/officeDocument/2006/relationships/tags" Target="../tags/tag26.xml"/></Relationships>
</file>

<file path=ppt/slides/_rels/slide26.xml.rels><?xml version="1.0" encoding="UTF-8" standalone="yes"?>
<Relationships xmlns="http://schemas.openxmlformats.org/package/2006/relationships"><Relationship Id="rId9" Type="http://schemas.openxmlformats.org/officeDocument/2006/relationships/vmlDrawing" Target="../drawings/vmlDrawing11.vml"/><Relationship Id="rId8" Type="http://schemas.openxmlformats.org/officeDocument/2006/relationships/slideLayout" Target="../slideLayouts/slideLayout2.xml"/><Relationship Id="rId7" Type="http://schemas.openxmlformats.org/officeDocument/2006/relationships/tags" Target="../tags/tag29.xml"/><Relationship Id="rId6" Type="http://schemas.openxmlformats.org/officeDocument/2006/relationships/image" Target="../media/image6.jpeg"/><Relationship Id="rId5" Type="http://schemas.openxmlformats.org/officeDocument/2006/relationships/image" Target="../media/image4.png"/><Relationship Id="rId4" Type="http://schemas.openxmlformats.org/officeDocument/2006/relationships/image" Target="../media/image2.emf"/><Relationship Id="rId3" Type="http://schemas.openxmlformats.org/officeDocument/2006/relationships/oleObject" Target="../embeddings/oleObject11.bin"/><Relationship Id="rId2" Type="http://schemas.openxmlformats.org/officeDocument/2006/relationships/tags" Target="../tags/tag28.xml"/><Relationship Id="rId10" Type="http://schemas.openxmlformats.org/officeDocument/2006/relationships/notesSlide" Target="../notesSlides/notesSlide26.xml"/><Relationship Id="rId1" Type="http://schemas.openxmlformats.org/officeDocument/2006/relationships/image" Target="../media/image5.jpeg"/></Relationships>
</file>

<file path=ppt/slides/_rels/slide27.xml.rels><?xml version="1.0" encoding="UTF-8" standalone="yes"?>
<Relationships xmlns="http://schemas.openxmlformats.org/package/2006/relationships"><Relationship Id="rId9" Type="http://schemas.openxmlformats.org/officeDocument/2006/relationships/vmlDrawing" Target="../drawings/vmlDrawing12.vml"/><Relationship Id="rId8" Type="http://schemas.openxmlformats.org/officeDocument/2006/relationships/slideLayout" Target="../slideLayouts/slideLayout2.xml"/><Relationship Id="rId7" Type="http://schemas.openxmlformats.org/officeDocument/2006/relationships/tags" Target="../tags/tag3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 Id="rId3" Type="http://schemas.openxmlformats.org/officeDocument/2006/relationships/image" Target="../media/image2.emf"/><Relationship Id="rId2" Type="http://schemas.openxmlformats.org/officeDocument/2006/relationships/oleObject" Target="../embeddings/oleObject12.bin"/><Relationship Id="rId10" Type="http://schemas.openxmlformats.org/officeDocument/2006/relationships/notesSlide" Target="../notesSlides/notesSlide27.xml"/><Relationship Id="rId1" Type="http://schemas.openxmlformats.org/officeDocument/2006/relationships/tags" Target="../tags/tag30.xml"/></Relationships>
</file>

<file path=ppt/slides/_rels/slide28.xml.rels><?xml version="1.0" encoding="UTF-8" standalone="yes"?>
<Relationships xmlns="http://schemas.openxmlformats.org/package/2006/relationships"><Relationship Id="rId9" Type="http://schemas.openxmlformats.org/officeDocument/2006/relationships/vmlDrawing" Target="../drawings/vmlDrawing13.vml"/><Relationship Id="rId8" Type="http://schemas.openxmlformats.org/officeDocument/2006/relationships/slideLayout" Target="../slideLayouts/slideLayout2.xml"/><Relationship Id="rId7" Type="http://schemas.openxmlformats.org/officeDocument/2006/relationships/tags" Target="../tags/tag33.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 Id="rId3" Type="http://schemas.openxmlformats.org/officeDocument/2006/relationships/image" Target="../media/image2.emf"/><Relationship Id="rId2" Type="http://schemas.openxmlformats.org/officeDocument/2006/relationships/oleObject" Target="../embeddings/oleObject13.bin"/><Relationship Id="rId10" Type="http://schemas.openxmlformats.org/officeDocument/2006/relationships/notesSlide" Target="../notesSlides/notesSlide28.xml"/><Relationship Id="rId1" Type="http://schemas.openxmlformats.org/officeDocument/2006/relationships/tags" Target="../tags/tag32.xml"/></Relationships>
</file>

<file path=ppt/slides/_rels/slide29.xml.rels><?xml version="1.0" encoding="UTF-8" standalone="yes"?>
<Relationships xmlns="http://schemas.openxmlformats.org/package/2006/relationships"><Relationship Id="rId9" Type="http://schemas.openxmlformats.org/officeDocument/2006/relationships/slideLayout" Target="../slideLayouts/slideLayout2.xml"/><Relationship Id="rId8" Type="http://schemas.openxmlformats.org/officeDocument/2006/relationships/tags" Target="../tags/tag35.xml"/><Relationship Id="rId7" Type="http://schemas.openxmlformats.org/officeDocument/2006/relationships/image" Target="../media/image7.jpeg"/><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 Id="rId3" Type="http://schemas.openxmlformats.org/officeDocument/2006/relationships/image" Target="../media/image2.emf"/><Relationship Id="rId2" Type="http://schemas.openxmlformats.org/officeDocument/2006/relationships/oleObject" Target="../embeddings/oleObject14.bin"/><Relationship Id="rId11" Type="http://schemas.openxmlformats.org/officeDocument/2006/relationships/notesSlide" Target="../notesSlides/notesSlide29.xml"/><Relationship Id="rId10" Type="http://schemas.openxmlformats.org/officeDocument/2006/relationships/vmlDrawing" Target="../drawings/vmlDrawing14.vml"/><Relationship Id="rId1" Type="http://schemas.openxmlformats.org/officeDocument/2006/relationships/tags" Target="../tags/tag3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image" Target="../media/image3.jpeg"/></Relationships>
</file>

<file path=ppt/slides/_rels/slide30.xml.rels><?xml version="1.0" encoding="UTF-8" standalone="yes"?>
<Relationships xmlns="http://schemas.openxmlformats.org/package/2006/relationships"><Relationship Id="rId6" Type="http://schemas.openxmlformats.org/officeDocument/2006/relationships/notesSlide" Target="../notesSlides/notesSlide30.xml"/><Relationship Id="rId5" Type="http://schemas.openxmlformats.org/officeDocument/2006/relationships/slideLayout" Target="../slideLayouts/slideLayout2.xml"/><Relationship Id="rId4" Type="http://schemas.openxmlformats.org/officeDocument/2006/relationships/tags" Target="../tags/tag36.xml"/><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image" Target="../media/image4.png"/></Relationships>
</file>

<file path=ppt/slides/_rels/slide31.xml.rels><?xml version="1.0" encoding="UTF-8" standalone="yes"?>
<Relationships xmlns="http://schemas.openxmlformats.org/package/2006/relationships"><Relationship Id="rId9" Type="http://schemas.openxmlformats.org/officeDocument/2006/relationships/slideLayout" Target="../slideLayouts/slideLayout2.xml"/><Relationship Id="rId8" Type="http://schemas.openxmlformats.org/officeDocument/2006/relationships/tags" Target="../tags/tag38.xml"/><Relationship Id="rId7" Type="http://schemas.openxmlformats.org/officeDocument/2006/relationships/image" Target="../media/image8.jpeg"/><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 Id="rId3" Type="http://schemas.openxmlformats.org/officeDocument/2006/relationships/image" Target="../media/image2.emf"/><Relationship Id="rId2" Type="http://schemas.openxmlformats.org/officeDocument/2006/relationships/oleObject" Target="../embeddings/oleObject15.bin"/><Relationship Id="rId11" Type="http://schemas.openxmlformats.org/officeDocument/2006/relationships/notesSlide" Target="../notesSlides/notesSlide31.xml"/><Relationship Id="rId10" Type="http://schemas.openxmlformats.org/officeDocument/2006/relationships/vmlDrawing" Target="../drawings/vmlDrawing15.vml"/><Relationship Id="rId1" Type="http://schemas.openxmlformats.org/officeDocument/2006/relationships/tags" Target="../tags/tag3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2.xml"/><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image" Target="../media/image4.png"/></Relationships>
</file>

<file path=ppt/slides/_rels/slide5.xml.rels><?xml version="1.0" encoding="UTF-8" standalone="yes"?>
<Relationships xmlns="http://schemas.openxmlformats.org/package/2006/relationships"><Relationship Id="rId6" Type="http://schemas.openxmlformats.org/officeDocument/2006/relationships/notesSlide" Target="../notesSlides/notesSlide5.xml"/><Relationship Id="rId5" Type="http://schemas.openxmlformats.org/officeDocument/2006/relationships/slideLayout" Target="../slideLayouts/slideLayout2.xml"/><Relationship Id="rId4" Type="http://schemas.openxmlformats.org/officeDocument/2006/relationships/tags" Target="../tags/tag3.xml"/><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image" Target="../media/image4.png"/></Relationships>
</file>

<file path=ppt/slides/_rels/slide6.xml.rels><?xml version="1.0" encoding="UTF-8" standalone="yes"?>
<Relationships xmlns="http://schemas.openxmlformats.org/package/2006/relationships"><Relationship Id="rId6" Type="http://schemas.openxmlformats.org/officeDocument/2006/relationships/notesSlide" Target="../notesSlides/notesSlide6.xml"/><Relationship Id="rId5" Type="http://schemas.openxmlformats.org/officeDocument/2006/relationships/slideLayout" Target="../slideLayouts/slideLayout2.xml"/><Relationship Id="rId4" Type="http://schemas.openxmlformats.org/officeDocument/2006/relationships/tags" Target="../tags/tag4.xml"/><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image" Target="../media/image4.png"/></Relationships>
</file>

<file path=ppt/slides/_rels/slide7.xml.rels><?xml version="1.0" encoding="UTF-8" standalone="yes"?>
<Relationships xmlns="http://schemas.openxmlformats.org/package/2006/relationships"><Relationship Id="rId5" Type="http://schemas.openxmlformats.org/officeDocument/2006/relationships/notesSlide" Target="../notesSlides/notesSlide7.xml"/><Relationship Id="rId4" Type="http://schemas.openxmlformats.org/officeDocument/2006/relationships/slideLayout" Target="../slideLayouts/slideLayout2.xml"/><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image" Target="../media/image4.png"/></Relationships>
</file>

<file path=ppt/slides/_rels/slide8.xml.rels><?xml version="1.0" encoding="UTF-8" standalone="yes"?>
<Relationships xmlns="http://schemas.openxmlformats.org/package/2006/relationships"><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5.xml"/><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image" Target="../media/image4.png"/></Relationships>
</file>

<file path=ppt/slides/_rels/slide9.xml.rels><?xml version="1.0" encoding="UTF-8" standalone="yes"?>
<Relationships xmlns="http://schemas.openxmlformats.org/package/2006/relationships"><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tags" Target="../tags/tag6.xml"/><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2"/>
          <p:cNvSpPr>
            <a:spLocks noChangeArrowheads="1"/>
          </p:cNvSpPr>
          <p:nvPr/>
        </p:nvSpPr>
        <p:spPr bwMode="auto">
          <a:xfrm>
            <a:off x="3461200" y="3651250"/>
            <a:ext cx="5692325" cy="852488"/>
          </a:xfrm>
          <a:prstGeom prst="rect">
            <a:avLst/>
          </a:prstGeom>
          <a:solidFill>
            <a:srgbClr val="14688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1D97BC"/>
              </a:solidFill>
              <a:latin typeface="Arial" panose="020B0604020202020204" pitchFamily="34" charset="0"/>
              <a:ea typeface="微软雅黑" panose="020B0503020204020204" pitchFamily="34" charset="-122"/>
              <a:sym typeface="Arial" panose="020B0604020202020204" pitchFamily="34" charset="0"/>
            </a:endParaRPr>
          </a:p>
        </p:txBody>
      </p:sp>
      <p:sp>
        <p:nvSpPr>
          <p:cNvPr id="16" name="TextBox 11"/>
          <p:cNvSpPr>
            <a:spLocks noChangeArrowheads="1"/>
          </p:cNvSpPr>
          <p:nvPr/>
        </p:nvSpPr>
        <p:spPr bwMode="auto">
          <a:xfrm>
            <a:off x="4297382" y="3154066"/>
            <a:ext cx="4030269"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defTabSz="685800" fontAlgn="base">
              <a:spcBef>
                <a:spcPct val="0"/>
              </a:spcBef>
              <a:spcAft>
                <a:spcPct val="0"/>
              </a:spcAft>
              <a:buFont typeface="Arial" panose="020B0604020202020204" pitchFamily="34" charset="0"/>
              <a:buNone/>
            </a:pPr>
            <a:r>
              <a:rPr lang="zh-CN" altLang="en-US" sz="2100" b="1" dirty="0" smtClean="0">
                <a:solidFill>
                  <a:srgbClr val="ED7D31"/>
                </a:solidFill>
                <a:latin typeface="Arial" panose="020B0604020202020204" pitchFamily="34" charset="0"/>
                <a:ea typeface="微软雅黑" panose="020B0503020204020204" pitchFamily="34" charset="-122"/>
                <a:sym typeface="Arial" panose="020B0604020202020204" pitchFamily="34" charset="0"/>
              </a:rPr>
              <a:t>第三</a:t>
            </a:r>
            <a:r>
              <a:rPr lang="zh-CN" altLang="en-US" sz="2100" b="1" dirty="0">
                <a:solidFill>
                  <a:srgbClr val="ED7D31"/>
                </a:solidFill>
                <a:latin typeface="Arial" panose="020B0604020202020204" pitchFamily="34" charset="0"/>
                <a:ea typeface="微软雅黑" panose="020B0503020204020204" pitchFamily="34" charset="-122"/>
                <a:sym typeface="Arial" panose="020B0604020202020204" pitchFamily="34" charset="0"/>
              </a:rPr>
              <a:t>章 商业伦理与企业社会责任</a:t>
            </a:r>
            <a:endParaRPr lang="zh-CN" altLang="en-US" sz="2100" b="1" dirty="0">
              <a:solidFill>
                <a:srgbClr val="ED7D31"/>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TextBox 11"/>
          <p:cNvSpPr>
            <a:spLocks noChangeArrowheads="1"/>
          </p:cNvSpPr>
          <p:nvPr/>
        </p:nvSpPr>
        <p:spPr bwMode="auto">
          <a:xfrm>
            <a:off x="4646614" y="3718646"/>
            <a:ext cx="3595856"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defTabSz="685800" fontAlgn="base">
              <a:spcBef>
                <a:spcPct val="0"/>
              </a:spcBef>
              <a:spcAft>
                <a:spcPct val="0"/>
              </a:spcAft>
              <a:buFont typeface="Arial" panose="020B0604020202020204" pitchFamily="34" charset="0"/>
              <a:buNone/>
            </a:pPr>
            <a:r>
              <a:rPr lang="zh-CN" altLang="en-US" sz="3800" b="1" dirty="0" smtClean="0">
                <a:solidFill>
                  <a:srgbClr val="FFFFFF"/>
                </a:solidFill>
                <a:latin typeface="Arial" panose="020B0604020202020204" pitchFamily="34" charset="0"/>
                <a:ea typeface="微软雅黑" panose="020B0503020204020204" pitchFamily="34" charset="-122"/>
                <a:sym typeface="Arial" panose="020B0604020202020204" pitchFamily="34" charset="0"/>
              </a:rPr>
              <a:t>管理理论与实务</a:t>
            </a:r>
            <a:endParaRPr lang="zh-CN" altLang="en-US" sz="3800"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253365" y="785495"/>
            <a:ext cx="8728075" cy="4083685"/>
          </a:xfrm>
        </p:spPr>
        <p:txBody>
          <a:bodyPr>
            <a:normAutofit fontScale="50000"/>
          </a:bodyPr>
          <a:p>
            <a:r>
              <a:rPr lang="zh-CN" altLang="en-US"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广义与狭义的区别</a:t>
            </a:r>
            <a:endParaRPr lang="zh-CN" altLang="en-US"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a:p>
            <a:pPr>
              <a:lnSpc>
                <a:spcPct val="120000"/>
              </a:lnSpc>
              <a:buFont typeface="Wingdings" panose="05000000000000000000" pitchFamily="2" charset="2"/>
              <a:buChar char="l"/>
            </a:pPr>
            <a:r>
              <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两</a:t>
            </a:r>
            <a:r>
              <a:rPr lang="zh-CN" altLang="en-US"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种概念中的“利益”一词的指代范围存在差异，广义的利益一般泛指企业对相关者造成的影响或相关者对企业的影响，而没有对求偿权做出约束；狭义的利益指的则是对企业的所有权、索取权或其他直接的利益</a:t>
            </a:r>
            <a:r>
              <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关系</a:t>
            </a:r>
            <a:endParaRPr lang="en-US" altLang="zh-CN"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a:lnSpc>
                <a:spcPct val="120000"/>
              </a:lnSpc>
              <a:buFont typeface="Wingdings" panose="05000000000000000000" pitchFamily="2" charset="2"/>
              <a:buChar char="l"/>
            </a:pPr>
            <a:r>
              <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广义</a:t>
            </a:r>
            <a:r>
              <a:rPr lang="zh-CN" altLang="en-US"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的利益相关者概念涵盖潜在利益相关者，在强调对企业造成影响的同时也动态地考虑了企业的运行，而狭义的利益相关者概念仅考虑对企业造成现实影响的组织或</a:t>
            </a:r>
            <a:r>
              <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个人</a:t>
            </a:r>
            <a:endPar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a:lnSpc>
                <a:spcPct val="120000"/>
              </a:lnSpc>
            </a:pPr>
            <a:r>
              <a:rPr lang="zh-CN" altLang="en-US"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综合以往研究对于利益相关者的界定，利益相关者可以做如下定义</a:t>
            </a:r>
            <a:r>
              <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a:t>
            </a:r>
            <a:endParaRPr lang="en-US" altLang="zh-CN"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a:lnSpc>
                <a:spcPct val="120000"/>
              </a:lnSpc>
            </a:pPr>
            <a:r>
              <a:rPr lang="zh-CN" altLang="en-US" b="1"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企业</a:t>
            </a:r>
            <a:r>
              <a:rPr lang="zh-CN" altLang="en-US" b="1"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的利益相关者是指影响企业的生存和发展（直接的或者间接的），同时又能被企业经营活动所影响的企业内部或外部的个人或群体。</a:t>
            </a:r>
            <a:endParaRPr lang="zh-CN" altLang="en-US" b="1"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a:lnSpc>
                <a:spcPct val="120000"/>
              </a:lnSpc>
            </a:pPr>
            <a:r>
              <a:rPr lang="zh-CN" altLang="en-US"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在实际运用中，具体的利益相关者还要结合企业的实际情况进行</a:t>
            </a:r>
            <a:r>
              <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区分</a:t>
            </a:r>
            <a:endParaRPr lang="zh-CN" altLang="en-US"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endParaRPr lang="zh-CN" altLang="en-US"/>
          </a:p>
        </p:txBody>
      </p:sp>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35" name="图片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730250" y="144145"/>
            <a:ext cx="2609215" cy="337185"/>
          </a:xfrm>
        </p:spPr>
        <p:txBody>
          <a:bodyPr>
            <a:noAutofit/>
          </a:bodyPr>
          <a:p>
            <a:r>
              <a:rPr lang="zh-CN" altLang="en-US" sz="20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利益相关者概念</a:t>
            </a:r>
            <a:endParaRPr lang="zh-CN" altLang="en-US" sz="20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2" imgW="5715" imgH="5715" progId="">
                  <p:embed/>
                </p:oleObj>
              </mc:Choice>
              <mc:Fallback>
                <p:oleObj name="think-cell Slide" r:id="rId2" imgW="5715" imgH="5715" progId="">
                  <p:embed/>
                  <p:pic>
                    <p:nvPicPr>
                      <p:cNvPr id="0" name="图片 2048"/>
                      <p:cNvPicPr>
                        <a:picLocks noChangeAspect="1"/>
                      </p:cNvPicPr>
                      <p:nvPr/>
                    </p:nvPicPr>
                    <p:blipFill>
                      <a:blip r:embed="rId3"/>
                      <a:stretch>
                        <a:fillRect/>
                      </a:stretch>
                    </p:blipFill>
                    <p:spPr>
                      <a:xfrm>
                        <a:off x="1588" y="1588"/>
                        <a:ext cx="1587" cy="1587"/>
                      </a:xfrm>
                      <a:prstGeom prst="rect">
                        <a:avLst/>
                      </a:prstGeom>
                      <a:noFill/>
                      <a:ln w="9525">
                        <a:noFill/>
                      </a:ln>
                    </p:spPr>
                  </p:pic>
                </p:oleObj>
              </mc:Fallback>
            </mc:AlternateContent>
          </a:graphicData>
        </a:graphic>
      </p:graphicFrame>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TextBox 33"/>
          <p:cNvSpPr txBox="1"/>
          <p:nvPr/>
        </p:nvSpPr>
        <p:spPr>
          <a:xfrm>
            <a:off x="890989" y="168866"/>
            <a:ext cx="2364750" cy="307777"/>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zh-CN" altLang="en-US" sz="1400"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利益相关者的界定分类</a:t>
            </a:r>
            <a:endParaRPr lang="zh-CN" altLang="en-US" sz="1400" spc="3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graphicFrame>
        <p:nvGraphicFramePr>
          <p:cNvPr id="3" name="表格 2"/>
          <p:cNvGraphicFramePr>
            <a:graphicFrameLocks noGrp="1"/>
          </p:cNvGraphicFramePr>
          <p:nvPr/>
        </p:nvGraphicFramePr>
        <p:xfrm>
          <a:off x="710046" y="1074793"/>
          <a:ext cx="7514219" cy="3588430"/>
        </p:xfrm>
        <a:graphic>
          <a:graphicData uri="http://schemas.openxmlformats.org/drawingml/2006/table">
            <a:tbl>
              <a:tblPr firstRow="1" firstCol="1" bandRow="1">
                <a:tableStyleId>{5C22544A-7EE6-4342-B048-85BDC9FD1C3A}</a:tableStyleId>
              </a:tblPr>
              <a:tblGrid>
                <a:gridCol w="2837591"/>
                <a:gridCol w="2922839"/>
                <a:gridCol w="961982"/>
                <a:gridCol w="791807"/>
              </a:tblGrid>
              <a:tr h="348430">
                <a:tc>
                  <a:txBody>
                    <a:bodyPr/>
                    <a:lstStyle/>
                    <a:p>
                      <a:pPr algn="l">
                        <a:spcAft>
                          <a:spcPts val="0"/>
                        </a:spcAft>
                      </a:pPr>
                      <a:r>
                        <a:rPr lang="zh-CN" sz="1600" kern="0" dirty="0">
                          <a:solidFill>
                            <a:schemeClr val="tx1"/>
                          </a:solidFill>
                          <a:effectLst/>
                          <a:latin typeface="Times New Roman" panose="02020603050405020304" pitchFamily="18" charset="0"/>
                          <a:cs typeface="Times New Roman" panose="02020603050405020304" pitchFamily="18" charset="0"/>
                        </a:rPr>
                        <a:t>划分标准</a:t>
                      </a:r>
                      <a:endParaRPr lang="zh-CN" sz="16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b">
                    <a:lnB w="19050" cap="flat" cmpd="sng" algn="ctr">
                      <a:solidFill>
                        <a:schemeClr val="accent1"/>
                      </a:solidFill>
                      <a:prstDash val="solid"/>
                      <a:round/>
                      <a:headEnd type="none" w="med" len="med"/>
                      <a:tailEnd type="none" w="med" len="med"/>
                    </a:lnB>
                    <a:noFill/>
                  </a:tcPr>
                </a:tc>
                <a:tc>
                  <a:txBody>
                    <a:bodyPr/>
                    <a:lstStyle/>
                    <a:p>
                      <a:pPr algn="l">
                        <a:spcAft>
                          <a:spcPts val="0"/>
                        </a:spcAft>
                      </a:pPr>
                      <a:r>
                        <a:rPr lang="zh-CN" sz="1600" kern="0" dirty="0">
                          <a:solidFill>
                            <a:schemeClr val="tx1"/>
                          </a:solidFill>
                          <a:effectLst/>
                          <a:latin typeface="Times New Roman" panose="02020603050405020304" pitchFamily="18" charset="0"/>
                          <a:cs typeface="Times New Roman" panose="02020603050405020304" pitchFamily="18" charset="0"/>
                        </a:rPr>
                        <a:t>分类</a:t>
                      </a:r>
                      <a:endParaRPr lang="zh-CN" sz="16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b">
                    <a:lnB w="19050" cap="flat" cmpd="sng" algn="ctr">
                      <a:solidFill>
                        <a:schemeClr val="accent1"/>
                      </a:solidFill>
                      <a:prstDash val="solid"/>
                      <a:round/>
                      <a:headEnd type="none" w="med" len="med"/>
                      <a:tailEnd type="none" w="med" len="med"/>
                    </a:lnB>
                    <a:noFill/>
                  </a:tcPr>
                </a:tc>
                <a:tc>
                  <a:txBody>
                    <a:bodyPr/>
                    <a:lstStyle/>
                    <a:p>
                      <a:pPr algn="l">
                        <a:spcAft>
                          <a:spcPts val="0"/>
                        </a:spcAft>
                      </a:pPr>
                      <a:r>
                        <a:rPr lang="zh-CN" sz="1600" kern="0" dirty="0">
                          <a:solidFill>
                            <a:schemeClr val="tx1"/>
                          </a:solidFill>
                          <a:effectLst/>
                          <a:latin typeface="Times New Roman" panose="02020603050405020304" pitchFamily="18" charset="0"/>
                          <a:cs typeface="Times New Roman" panose="02020603050405020304" pitchFamily="18" charset="0"/>
                        </a:rPr>
                        <a:t>研究者</a:t>
                      </a:r>
                      <a:endParaRPr lang="zh-CN" sz="16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b">
                    <a:lnB w="19050" cap="flat" cmpd="sng" algn="ctr">
                      <a:solidFill>
                        <a:schemeClr val="accent1"/>
                      </a:solidFill>
                      <a:prstDash val="solid"/>
                      <a:round/>
                      <a:headEnd type="none" w="med" len="med"/>
                      <a:tailEnd type="none" w="med" len="med"/>
                    </a:lnB>
                    <a:noFill/>
                  </a:tcPr>
                </a:tc>
                <a:tc>
                  <a:txBody>
                    <a:bodyPr/>
                    <a:lstStyle/>
                    <a:p>
                      <a:pPr algn="l">
                        <a:spcAft>
                          <a:spcPts val="0"/>
                        </a:spcAft>
                      </a:pPr>
                      <a:r>
                        <a:rPr lang="zh-CN" sz="1600" kern="0" dirty="0">
                          <a:solidFill>
                            <a:schemeClr val="tx1"/>
                          </a:solidFill>
                          <a:effectLst/>
                          <a:latin typeface="Times New Roman" panose="02020603050405020304" pitchFamily="18" charset="0"/>
                          <a:cs typeface="Times New Roman" panose="02020603050405020304" pitchFamily="18" charset="0"/>
                        </a:rPr>
                        <a:t>时间</a:t>
                      </a:r>
                      <a:endParaRPr lang="zh-CN" sz="16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b">
                    <a:lnB w="19050" cap="flat" cmpd="sng" algn="ctr">
                      <a:solidFill>
                        <a:schemeClr val="accent1"/>
                      </a:solidFill>
                      <a:prstDash val="solid"/>
                      <a:round/>
                      <a:headEnd type="none" w="med" len="med"/>
                      <a:tailEnd type="none" w="med" len="med"/>
                    </a:lnB>
                    <a:noFill/>
                  </a:tcPr>
                </a:tc>
              </a:tr>
              <a:tr h="360000">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所有权、经济依赖性和社会利益</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lnT w="19050" cap="flat" cmpd="sng" algn="ctr">
                      <a:solidFill>
                        <a:schemeClr val="accent1"/>
                      </a:solidFill>
                      <a:prstDash val="solid"/>
                      <a:round/>
                      <a:headEnd type="none" w="med" len="med"/>
                      <a:tailEnd type="none" w="med" len="med"/>
                    </a:lnT>
                    <a:noFill/>
                  </a:tcPr>
                </a:tc>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对企业拥有所有权的利益相关者和对企业有经济依赖性的利益相关者</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lnT w="19050" cap="flat" cmpd="sng" algn="ctr">
                      <a:solidFill>
                        <a:schemeClr val="accent1"/>
                      </a:solidFill>
                      <a:prstDash val="solid"/>
                      <a:round/>
                      <a:headEnd type="none" w="med" len="med"/>
                      <a:tailEnd type="none" w="med" len="med"/>
                    </a:lnT>
                    <a:noFill/>
                  </a:tcPr>
                </a:tc>
                <a:tc>
                  <a:txBody>
                    <a:bodyPr/>
                    <a:lstStyle/>
                    <a:p>
                      <a:pPr algn="l">
                        <a:spcAft>
                          <a:spcPts val="0"/>
                        </a:spcAft>
                      </a:pPr>
                      <a:r>
                        <a:rPr lang="en-US" sz="1000" kern="0" dirty="0">
                          <a:solidFill>
                            <a:schemeClr val="tx1"/>
                          </a:solidFill>
                          <a:effectLst/>
                          <a:latin typeface="Times New Roman" panose="02020603050405020304" pitchFamily="18" charset="0"/>
                          <a:cs typeface="Times New Roman" panose="02020603050405020304" pitchFamily="18" charset="0"/>
                        </a:rPr>
                        <a:t>Freeman</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lnT w="19050" cap="flat" cmpd="sng" algn="ctr">
                      <a:solidFill>
                        <a:schemeClr val="accent1"/>
                      </a:solidFill>
                      <a:prstDash val="solid"/>
                      <a:round/>
                      <a:headEnd type="none" w="med" len="med"/>
                      <a:tailEnd type="none" w="med" len="med"/>
                    </a:lnT>
                    <a:noFill/>
                  </a:tcPr>
                </a:tc>
                <a:tc>
                  <a:txBody>
                    <a:bodyPr/>
                    <a:lstStyle/>
                    <a:p>
                      <a:pPr algn="l">
                        <a:spcAft>
                          <a:spcPts val="0"/>
                        </a:spcAft>
                      </a:pPr>
                      <a:r>
                        <a:rPr lang="en-US" sz="1000" kern="0">
                          <a:solidFill>
                            <a:schemeClr val="tx1"/>
                          </a:solidFill>
                          <a:effectLst/>
                          <a:latin typeface="Times New Roman" panose="02020603050405020304" pitchFamily="18" charset="0"/>
                          <a:cs typeface="Times New Roman" panose="02020603050405020304" pitchFamily="18" charset="0"/>
                        </a:rPr>
                        <a:t>1984</a:t>
                      </a:r>
                      <a:endParaRPr lang="zh-CN" sz="1000" kern="10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lnT w="19050" cap="flat" cmpd="sng" algn="ctr">
                      <a:solidFill>
                        <a:schemeClr val="accent1"/>
                      </a:solidFill>
                      <a:prstDash val="solid"/>
                      <a:round/>
                      <a:headEnd type="none" w="med" len="med"/>
                      <a:tailEnd type="none" w="med" len="med"/>
                    </a:lnT>
                    <a:noFill/>
                  </a:tcPr>
                </a:tc>
              </a:tr>
              <a:tr h="360000">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是否与企业发生市场交易</a:t>
                      </a:r>
                      <a:r>
                        <a:rPr lang="zh-CN" sz="1000" kern="0" dirty="0" smtClean="0">
                          <a:solidFill>
                            <a:schemeClr val="tx1"/>
                          </a:solidFill>
                          <a:effectLst/>
                          <a:latin typeface="Times New Roman" panose="02020603050405020304" pitchFamily="18" charset="0"/>
                          <a:cs typeface="Times New Roman" panose="02020603050405020304" pitchFamily="18" charset="0"/>
                        </a:rPr>
                        <a:t>联系</a:t>
                      </a:r>
                      <a:endParaRPr lang="zh-CN" sz="1000" kern="100" dirty="0">
                        <a:solidFill>
                          <a:schemeClr val="tx1"/>
                        </a:solidFill>
                        <a:effectLst/>
                        <a:latin typeface="Times New Roman" panose="02020603050405020304" pitchFamily="18" charset="0"/>
                        <a:cs typeface="Times New Roman" panose="02020603050405020304" pitchFamily="18" charset="0"/>
                      </a:endParaRPr>
                    </a:p>
                  </a:txBody>
                  <a:tcPr marL="66118" marR="66118" marT="0" marB="0" anchor="ctr">
                    <a:noFill/>
                  </a:tcPr>
                </a:tc>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直接利益相关者和间接利益相关者</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en-US" sz="1000" kern="0">
                          <a:solidFill>
                            <a:schemeClr val="tx1"/>
                          </a:solidFill>
                          <a:effectLst/>
                          <a:latin typeface="Times New Roman" panose="02020603050405020304" pitchFamily="18" charset="0"/>
                          <a:cs typeface="Times New Roman" panose="02020603050405020304" pitchFamily="18" charset="0"/>
                        </a:rPr>
                        <a:t>Frederick</a:t>
                      </a:r>
                      <a:endParaRPr lang="zh-CN" sz="1000" kern="10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en-US" sz="1000" kern="0">
                          <a:solidFill>
                            <a:schemeClr val="tx1"/>
                          </a:solidFill>
                          <a:effectLst/>
                          <a:latin typeface="Times New Roman" panose="02020603050405020304" pitchFamily="18" charset="0"/>
                          <a:cs typeface="Times New Roman" panose="02020603050405020304" pitchFamily="18" charset="0"/>
                        </a:rPr>
                        <a:t>1988</a:t>
                      </a:r>
                      <a:endParaRPr lang="zh-CN" sz="1000" kern="10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r>
              <a:tr h="360000">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与企业发生联系的社会性</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首要的社会利益相关者、次要的社会利益相关者</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en-US" sz="1000" kern="0">
                          <a:solidFill>
                            <a:schemeClr val="tx1"/>
                          </a:solidFill>
                          <a:effectLst/>
                          <a:latin typeface="Times New Roman" panose="02020603050405020304" pitchFamily="18" charset="0"/>
                          <a:cs typeface="Times New Roman" panose="02020603050405020304" pitchFamily="18" charset="0"/>
                        </a:rPr>
                        <a:t>Wheeler</a:t>
                      </a:r>
                      <a:endParaRPr lang="zh-CN" sz="1000" kern="10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en-US" sz="1000" kern="0">
                          <a:solidFill>
                            <a:schemeClr val="tx1"/>
                          </a:solidFill>
                          <a:effectLst/>
                          <a:latin typeface="Times New Roman" panose="02020603050405020304" pitchFamily="18" charset="0"/>
                          <a:cs typeface="Times New Roman" panose="02020603050405020304" pitchFamily="18" charset="0"/>
                        </a:rPr>
                        <a:t>1988</a:t>
                      </a:r>
                      <a:endParaRPr lang="zh-CN" sz="1000" kern="10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r>
              <a:tr h="360000">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是否掌握关键资源、实力与公司相比</a:t>
                      </a:r>
                      <a:r>
                        <a:rPr lang="zh-CN" sz="1000" kern="0" dirty="0" smtClean="0">
                          <a:solidFill>
                            <a:schemeClr val="tx1"/>
                          </a:solidFill>
                          <a:effectLst/>
                          <a:latin typeface="Times New Roman" panose="02020603050405020304" pitchFamily="18" charset="0"/>
                          <a:cs typeface="Times New Roman" panose="02020603050405020304" pitchFamily="18" charset="0"/>
                        </a:rPr>
                        <a:t>如何</a:t>
                      </a:r>
                      <a:endParaRPr lang="zh-CN" sz="1000" kern="100" dirty="0">
                        <a:solidFill>
                          <a:schemeClr val="tx1"/>
                        </a:solidFill>
                        <a:effectLst/>
                        <a:latin typeface="Times New Roman" panose="02020603050405020304" pitchFamily="18" charset="0"/>
                        <a:cs typeface="Times New Roman" panose="02020603050405020304" pitchFamily="18" charset="0"/>
                      </a:endParaRPr>
                    </a:p>
                  </a:txBody>
                  <a:tcPr marL="66118" marR="66118" marT="0" marB="0" anchor="ctr">
                    <a:noFill/>
                  </a:tcPr>
                </a:tc>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支持型、边缘型、混合型、反对型</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en-US" sz="1000" kern="0">
                          <a:solidFill>
                            <a:schemeClr val="tx1"/>
                          </a:solidFill>
                          <a:effectLst/>
                          <a:latin typeface="Times New Roman" panose="02020603050405020304" pitchFamily="18" charset="0"/>
                          <a:cs typeface="Times New Roman" panose="02020603050405020304" pitchFamily="18" charset="0"/>
                        </a:rPr>
                        <a:t>Grant</a:t>
                      </a:r>
                      <a:endParaRPr lang="zh-CN" sz="1000" kern="10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en-US" sz="1000" kern="0">
                          <a:solidFill>
                            <a:schemeClr val="tx1"/>
                          </a:solidFill>
                          <a:effectLst/>
                          <a:latin typeface="Times New Roman" panose="02020603050405020304" pitchFamily="18" charset="0"/>
                          <a:cs typeface="Times New Roman" panose="02020603050405020304" pitchFamily="18" charset="0"/>
                        </a:rPr>
                        <a:t>1991</a:t>
                      </a:r>
                      <a:endParaRPr lang="zh-CN" sz="1000" kern="10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r>
              <a:tr h="360000">
                <a:tc>
                  <a:txBody>
                    <a:bodyPr/>
                    <a:lstStyle/>
                    <a:p>
                      <a:pPr algn="l">
                        <a:spcAft>
                          <a:spcPts val="0"/>
                        </a:spcAft>
                      </a:pPr>
                      <a:r>
                        <a:rPr lang="zh-CN" sz="1000" kern="0">
                          <a:solidFill>
                            <a:schemeClr val="tx1"/>
                          </a:solidFill>
                          <a:effectLst/>
                          <a:latin typeface="Times New Roman" panose="02020603050405020304" pitchFamily="18" charset="0"/>
                          <a:cs typeface="Times New Roman" panose="02020603050405020304" pitchFamily="18" charset="0"/>
                        </a:rPr>
                        <a:t>利益相关群体与企业是否存在交易性的合同关系</a:t>
                      </a:r>
                      <a:endParaRPr lang="zh-CN" sz="1000" kern="10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契约型利益相关者和公众型利益相关者</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en-US" sz="1000" kern="0" dirty="0" err="1">
                          <a:solidFill>
                            <a:schemeClr val="tx1"/>
                          </a:solidFill>
                          <a:effectLst/>
                          <a:latin typeface="Times New Roman" panose="02020603050405020304" pitchFamily="18" charset="0"/>
                          <a:cs typeface="Times New Roman" panose="02020603050405020304" pitchFamily="18" charset="0"/>
                        </a:rPr>
                        <a:t>Charkham</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en-US" sz="1000" kern="0">
                          <a:solidFill>
                            <a:schemeClr val="tx1"/>
                          </a:solidFill>
                          <a:effectLst/>
                          <a:latin typeface="Times New Roman" panose="02020603050405020304" pitchFamily="18" charset="0"/>
                          <a:cs typeface="Times New Roman" panose="02020603050405020304" pitchFamily="18" charset="0"/>
                        </a:rPr>
                        <a:t>1992</a:t>
                      </a:r>
                      <a:endParaRPr lang="zh-CN" sz="1000" kern="10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r>
              <a:tr h="360000">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在企业经营活动中承担的风险</a:t>
                      </a:r>
                      <a:r>
                        <a:rPr lang="zh-CN" sz="1000" kern="0" dirty="0" smtClean="0">
                          <a:solidFill>
                            <a:schemeClr val="tx1"/>
                          </a:solidFill>
                          <a:effectLst/>
                          <a:latin typeface="Times New Roman" panose="02020603050405020304" pitchFamily="18" charset="0"/>
                          <a:cs typeface="Times New Roman" panose="02020603050405020304" pitchFamily="18" charset="0"/>
                        </a:rPr>
                        <a:t>种类</a:t>
                      </a:r>
                      <a:endParaRPr lang="zh-CN" sz="1000" kern="100" dirty="0">
                        <a:solidFill>
                          <a:schemeClr val="tx1"/>
                        </a:solidFill>
                        <a:effectLst/>
                        <a:latin typeface="Times New Roman" panose="02020603050405020304" pitchFamily="18" charset="0"/>
                        <a:cs typeface="Times New Roman" panose="02020603050405020304" pitchFamily="18" charset="0"/>
                      </a:endParaRPr>
                    </a:p>
                  </a:txBody>
                  <a:tcPr marL="66118" marR="66118" marT="0" marB="0" anchor="ctr">
                    <a:noFill/>
                  </a:tcPr>
                </a:tc>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自愿利益相关者、非自愿利益相关者</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en-US" sz="1000" kern="0" dirty="0">
                          <a:solidFill>
                            <a:schemeClr val="tx1"/>
                          </a:solidFill>
                          <a:effectLst/>
                          <a:latin typeface="Times New Roman" panose="02020603050405020304" pitchFamily="18" charset="0"/>
                          <a:cs typeface="Times New Roman" panose="02020603050405020304" pitchFamily="18" charset="0"/>
                        </a:rPr>
                        <a:t>Clarkson</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en-US" sz="1000" kern="0" dirty="0">
                          <a:solidFill>
                            <a:schemeClr val="tx1"/>
                          </a:solidFill>
                          <a:effectLst/>
                          <a:latin typeface="Times New Roman" panose="02020603050405020304" pitchFamily="18" charset="0"/>
                          <a:cs typeface="Times New Roman" panose="02020603050405020304" pitchFamily="18" charset="0"/>
                        </a:rPr>
                        <a:t>1994</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r>
              <a:tr h="360000">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群体与企业联系的</a:t>
                      </a:r>
                      <a:r>
                        <a:rPr lang="zh-CN" sz="1000" kern="0" dirty="0" smtClean="0">
                          <a:solidFill>
                            <a:schemeClr val="tx1"/>
                          </a:solidFill>
                          <a:effectLst/>
                          <a:latin typeface="Times New Roman" panose="02020603050405020304" pitchFamily="18" charset="0"/>
                          <a:cs typeface="Times New Roman" panose="02020603050405020304" pitchFamily="18" charset="0"/>
                        </a:rPr>
                        <a:t>紧密性</a:t>
                      </a:r>
                      <a:endParaRPr lang="zh-CN" sz="1000" kern="100" dirty="0">
                        <a:solidFill>
                          <a:schemeClr val="tx1"/>
                        </a:solidFill>
                        <a:effectLst/>
                        <a:latin typeface="Times New Roman" panose="02020603050405020304" pitchFamily="18" charset="0"/>
                        <a:cs typeface="Times New Roman" panose="02020603050405020304" pitchFamily="18" charset="0"/>
                      </a:endParaRPr>
                    </a:p>
                  </a:txBody>
                  <a:tcPr marL="66118" marR="66118" marT="0" marB="0" anchor="ctr">
                    <a:noFill/>
                  </a:tcPr>
                </a:tc>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首要的利益相关者、次要的利益相关者</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en-US" sz="1000" kern="0" dirty="0">
                          <a:solidFill>
                            <a:schemeClr val="tx1"/>
                          </a:solidFill>
                          <a:effectLst/>
                          <a:latin typeface="Times New Roman" panose="02020603050405020304" pitchFamily="18" charset="0"/>
                          <a:cs typeface="Times New Roman" panose="02020603050405020304" pitchFamily="18" charset="0"/>
                        </a:rPr>
                        <a:t>Clarkson</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en-US" sz="1000" kern="0" dirty="0">
                          <a:solidFill>
                            <a:schemeClr val="tx1"/>
                          </a:solidFill>
                          <a:effectLst/>
                          <a:latin typeface="Times New Roman" panose="02020603050405020304" pitchFamily="18" charset="0"/>
                          <a:cs typeface="Times New Roman" panose="02020603050405020304" pitchFamily="18" charset="0"/>
                        </a:rPr>
                        <a:t>1995</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r>
              <a:tr h="360000">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利益相关者与企业的合作性和威胁性</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zh-CN" sz="1000" kern="0">
                          <a:solidFill>
                            <a:schemeClr val="tx1"/>
                          </a:solidFill>
                          <a:effectLst/>
                          <a:latin typeface="Times New Roman" panose="02020603050405020304" pitchFamily="18" charset="0"/>
                          <a:cs typeface="Times New Roman" panose="02020603050405020304" pitchFamily="18" charset="0"/>
                        </a:rPr>
                        <a:t>支持型、边缘型、不支持型和混合型</a:t>
                      </a:r>
                      <a:endParaRPr lang="zh-CN" sz="1000" kern="10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万建华</a:t>
                      </a:r>
                      <a:endParaRPr lang="zh-CN" sz="1000" kern="100" dirty="0">
                        <a:solidFill>
                          <a:schemeClr val="tx1"/>
                        </a:solidFill>
                        <a:effectLst/>
                        <a:latin typeface="Times New Roman" panose="02020603050405020304" pitchFamily="18" charset="0"/>
                        <a:cs typeface="Times New Roman" panose="02020603050405020304" pitchFamily="18" charset="0"/>
                      </a:endParaRPr>
                    </a:p>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李心合</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en-US" sz="1000" kern="0" dirty="0">
                          <a:solidFill>
                            <a:schemeClr val="tx1"/>
                          </a:solidFill>
                          <a:effectLst/>
                          <a:latin typeface="Times New Roman" panose="02020603050405020304" pitchFamily="18" charset="0"/>
                          <a:cs typeface="Times New Roman" panose="02020603050405020304" pitchFamily="18" charset="0"/>
                        </a:rPr>
                        <a:t>1998</a:t>
                      </a:r>
                      <a:endParaRPr lang="zh-CN" sz="1000" kern="100" dirty="0">
                        <a:solidFill>
                          <a:schemeClr val="tx1"/>
                        </a:solidFill>
                        <a:effectLst/>
                        <a:latin typeface="Times New Roman" panose="02020603050405020304" pitchFamily="18" charset="0"/>
                        <a:cs typeface="Times New Roman" panose="02020603050405020304" pitchFamily="18" charset="0"/>
                      </a:endParaRPr>
                    </a:p>
                    <a:p>
                      <a:pPr algn="l">
                        <a:spcAft>
                          <a:spcPts val="0"/>
                        </a:spcAft>
                      </a:pPr>
                      <a:r>
                        <a:rPr lang="en-US" sz="1000" kern="0" dirty="0">
                          <a:solidFill>
                            <a:schemeClr val="tx1"/>
                          </a:solidFill>
                          <a:effectLst/>
                          <a:latin typeface="Times New Roman" panose="02020603050405020304" pitchFamily="18" charset="0"/>
                          <a:cs typeface="Times New Roman" panose="02020603050405020304" pitchFamily="18" charset="0"/>
                        </a:rPr>
                        <a:t>2001</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r>
              <a:tr h="360000">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利益相关者的属性：主动性、重要性和紧急性</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核心利益相关者、蛰伏利益相关者和边缘利益相关者</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zh-CN" sz="1000" kern="0" dirty="0">
                          <a:solidFill>
                            <a:schemeClr val="tx1"/>
                          </a:solidFill>
                          <a:effectLst/>
                          <a:latin typeface="Times New Roman" panose="02020603050405020304" pitchFamily="18" charset="0"/>
                          <a:cs typeface="Times New Roman" panose="02020603050405020304" pitchFamily="18" charset="0"/>
                        </a:rPr>
                        <a:t>陈宏辉</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c>
                  <a:txBody>
                    <a:bodyPr/>
                    <a:lstStyle/>
                    <a:p>
                      <a:pPr algn="l">
                        <a:spcAft>
                          <a:spcPts val="0"/>
                        </a:spcAft>
                      </a:pPr>
                      <a:r>
                        <a:rPr lang="en-US" sz="1000" kern="0" dirty="0">
                          <a:solidFill>
                            <a:schemeClr val="tx1"/>
                          </a:solidFill>
                          <a:effectLst/>
                          <a:latin typeface="Times New Roman" panose="02020603050405020304" pitchFamily="18" charset="0"/>
                          <a:cs typeface="Times New Roman" panose="02020603050405020304" pitchFamily="18" charset="0"/>
                        </a:rPr>
                        <a:t>2003</a:t>
                      </a:r>
                      <a:endParaRPr lang="zh-CN" sz="1000" kern="100" dirty="0">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66118" marR="66118" marT="0" marB="0" anchor="ctr">
                    <a:noFill/>
                  </a:tcPr>
                </a:tc>
              </a:tr>
            </a:tbl>
          </a:graphicData>
        </a:graphic>
      </p:graphicFrame>
    </p:spTree>
    <p:custDataLst>
      <p:tags r:id="rId7"/>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normAutofit fontScale="50000"/>
          </a:bodyPr>
          <a:p>
            <a:r>
              <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rPr>
              <a:t>美国学者米切尔（</a:t>
            </a:r>
            <a:r>
              <a:rPr lang="en-US" altLang="zh-CN" dirty="0">
                <a:solidFill>
                  <a:srgbClr val="0067B0"/>
                </a:solidFill>
                <a:latin typeface="Arial" panose="020B0604020202020204" pitchFamily="34" charset="0"/>
                <a:ea typeface="微软雅黑" panose="020B0503020204020204" pitchFamily="34" charset="-122"/>
                <a:sym typeface="Arial" panose="020B0604020202020204" pitchFamily="34" charset="0"/>
              </a:rPr>
              <a:t>Mitchell</a:t>
            </a:r>
            <a:r>
              <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rPr>
              <a:t>）等</a:t>
            </a:r>
            <a:r>
              <a:rPr lang="zh-CN" altLang="en-US"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人，</a:t>
            </a:r>
            <a:r>
              <a:rPr lang="en-US" altLang="zh-CN"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1997</a:t>
            </a:r>
            <a:r>
              <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rPr>
              <a:t>年</a:t>
            </a:r>
            <a:endPar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a:p>
            <a:pPr>
              <a:lnSpc>
                <a:spcPct val="120000"/>
              </a:lnSpc>
            </a:pP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利益相关者的三</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种</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属性：</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合法性、权力性以及</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紧迫性</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nSpc>
                <a:spcPct val="120000"/>
              </a:lnSpc>
            </a:pP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三种类型</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marL="0" indent="0">
              <a:lnSpc>
                <a:spcPct val="120000"/>
              </a:lnSpc>
              <a:buNone/>
            </a:pP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1</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zh-CN" altLang="en-US"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确定型利益相关者</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同时拥有合法性、权力性和紧迫性。这是企业首要关注和密切联系的对象，包括股东、雇员和</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顾客</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marL="0" indent="0">
              <a:lnSpc>
                <a:spcPct val="120000"/>
              </a:lnSpc>
              <a:buNone/>
            </a:pP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2</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zh-CN" altLang="en-US"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预期型利益相关者</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同时拥有合法性和权力性，如投资者、雇员和政府部门等；具有合法性和紧迫性的群体，如媒体、社会组织等；同时拥有紧迫性和权力性，但没有合法性的群体，比如一些政治和宗教的极端主义者、激进的社会分子，他们往往会通过一些比较暴力的手段来达到</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目的</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marL="0" indent="0">
              <a:lnSpc>
                <a:spcPct val="120000"/>
              </a:lnSpc>
              <a:buNone/>
            </a:pP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3</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zh-CN" altLang="en-US"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潜在型利益相关者</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他们只具备三种属性中的其中一</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种</a:t>
            </a:r>
            <a:endParaRPr lang="zh-CN" altLang="en-US"/>
          </a:p>
        </p:txBody>
      </p:sp>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35" name="图片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890905" y="104140"/>
            <a:ext cx="2090420" cy="400685"/>
          </a:xfrm>
        </p:spPr>
        <p:txBody>
          <a:bodyPr>
            <a:noAutofit/>
          </a:bodyPr>
          <a:p>
            <a:r>
              <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利益相关者概念</a:t>
            </a:r>
            <a:endPar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normAutofit lnSpcReduction="10000"/>
          </a:bodyPr>
          <a:p>
            <a:r>
              <a:rPr lang="zh-CN" altLang="en-US" b="1"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利益相关者的权利要求</a:t>
            </a:r>
            <a:endParaRPr lang="zh-CN" altLang="en-US" b="1"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a:p>
            <a:pPr marL="285750" indent="-285750" algn="ctr">
              <a:buFont typeface="Arial" panose="020B0604020202020204" pitchFamily="34" charset="0"/>
              <a:buChar char="•"/>
            </a:pPr>
            <a:r>
              <a:rPr lang="zh-CN" altLang="en-US"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投票</a:t>
            </a:r>
            <a:r>
              <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权利</a:t>
            </a:r>
            <a:endParaRPr lang="en-US" altLang="zh-CN"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marL="285750" indent="-285750" algn="ctr">
              <a:buFont typeface="Arial" panose="020B0604020202020204" pitchFamily="34" charset="0"/>
              <a:buChar char="•"/>
            </a:pPr>
            <a:r>
              <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经济权利</a:t>
            </a:r>
            <a:endParaRPr lang="en-US" altLang="zh-CN"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marL="285750" indent="-285750" algn="ctr">
              <a:buFont typeface="Arial" panose="020B0604020202020204" pitchFamily="34" charset="0"/>
              <a:buChar char="•"/>
            </a:pPr>
            <a:r>
              <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政治权利</a:t>
            </a:r>
            <a:endParaRPr lang="zh-CN" altLang="en-US"/>
          </a:p>
        </p:txBody>
      </p:sp>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35" name="图片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729615" y="140335"/>
            <a:ext cx="2477135" cy="351155"/>
          </a:xfrm>
        </p:spPr>
        <p:txBody>
          <a:bodyPr>
            <a:noAutofit/>
          </a:bodyPr>
          <a:p>
            <a:r>
              <a:rPr lang="zh-CN" altLang="en-US" sz="20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利益相关者权利</a:t>
            </a:r>
            <a:endParaRPr lang="zh-CN" altLang="en-US" sz="20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2419350" y="235005"/>
            <a:ext cx="4543425" cy="4365569"/>
          </a:xfrm>
          <a:prstGeom prst="ellipse">
            <a:avLst/>
          </a:prstGeom>
        </p:spPr>
      </p:pic>
      <p:sp>
        <p:nvSpPr>
          <p:cNvPr id="6" name="TextBox 6"/>
          <p:cNvSpPr txBox="1">
            <a:spLocks noChangeArrowheads="1"/>
          </p:cNvSpPr>
          <p:nvPr/>
        </p:nvSpPr>
        <p:spPr bwMode="auto">
          <a:xfrm>
            <a:off x="3035300" y="2636429"/>
            <a:ext cx="3302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vl2pPr/>
            <a:lvl3pPr/>
            <a:lvl4pPr/>
            <a:lvl5pPr/>
            <a:lvl6pPr/>
            <a:lvl7pPr/>
            <a:lvl8pPr/>
            <a:lvl9pPr/>
          </a:lstStyle>
          <a:p>
            <a:pPr algn="ctr"/>
            <a:r>
              <a:rPr lang="zh-CN" altLang="en-US" sz="2400" b="1"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商业伦理</a:t>
            </a:r>
            <a:endParaRPr lang="zh-CN" altLang="en-US" sz="2400" b="1"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TextBox 6"/>
          <p:cNvSpPr txBox="1">
            <a:spLocks noChangeArrowheads="1"/>
          </p:cNvSpPr>
          <p:nvPr/>
        </p:nvSpPr>
        <p:spPr bwMode="auto">
          <a:xfrm>
            <a:off x="4205159" y="1456711"/>
            <a:ext cx="1088201"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vl2pPr/>
            <a:lvl3pPr/>
            <a:lvl4pPr/>
            <a:lvl5pPr/>
            <a:lvl6pPr/>
            <a:lvl7pPr/>
            <a:lvl8pPr/>
            <a:lvl9pPr/>
          </a:lstStyle>
          <a:p>
            <a:pPr algn="ctr"/>
            <a:r>
              <a:rPr lang="en-US" altLang="zh-CN" sz="72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2</a:t>
            </a:r>
            <a:endParaRPr lang="zh-CN" sz="72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321310" y="889001"/>
            <a:ext cx="8229600" cy="3394472"/>
          </a:xfrm>
        </p:spPr>
        <p:txBody>
          <a:bodyPr>
            <a:normAutofit fontScale="40000"/>
          </a:bodyPr>
          <a:p>
            <a:r>
              <a:rPr lang="zh-CN" altLang="en-US"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道德</a:t>
            </a:r>
            <a:endParaRPr lang="zh-CN" altLang="en-US"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a:p>
            <a:r>
              <a:rPr lang="zh-CN" altLang="en-US"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指一系列关于品德的原则，这些原则决定了人们的价值观，进而影响人们的</a:t>
            </a:r>
            <a:r>
              <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行为</a:t>
            </a:r>
            <a:endPar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a:lnSpc>
                <a:spcPct val="120000"/>
              </a:lnSpc>
              <a:buFont typeface="Wingdings" panose="05000000000000000000" pitchFamily="2" charset="2"/>
              <a:buChar char="l"/>
            </a:pP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有关不同商业情境中伦理困境或问题的特殊伦理范畴，是人类社会伦理准则和行为在企业经</a:t>
            </a:r>
            <a:endPar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nSpc>
                <a:spcPct val="120000"/>
              </a:lnSpc>
              <a:buFont typeface="Wingdings" panose="05000000000000000000" pitchFamily="2" charset="2"/>
              <a:buChar char="l"/>
            </a:pP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济活动中的表现，是企业在与利益相关者互动的过程中所形成的一套有关如何使行为更好地与道德规范相匹配的标准与规则</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endPar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nSpc>
                <a:spcPct val="120000"/>
              </a:lnSpc>
              <a:buFont typeface="Wingdings" panose="05000000000000000000" pitchFamily="2" charset="2"/>
              <a:buChar char="l"/>
            </a:pPr>
            <a:r>
              <a:rPr lang="zh-CN" altLang="en-US"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商业伦理</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marL="0" indent="0">
              <a:lnSpc>
                <a:spcPct val="120000"/>
              </a:lnSpc>
              <a:buNone/>
            </a:pPr>
            <a:r>
              <a:rPr lang="zh-CN"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企业作为从事商业活动的主体，是商业伦理的主要</a:t>
            </a:r>
            <a:r>
              <a:rPr lang="zh-CN"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载体</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0">
              <a:lnSpc>
                <a:spcPct val="120000"/>
              </a:lnSpc>
              <a:buNone/>
            </a:pPr>
            <a:r>
              <a:rPr lang="zh-CN"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2</a:t>
            </a:r>
            <a:r>
              <a:rPr lang="zh-CN"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企业作为经济人和道德人的统一，它的求利行为必须遵守道德准则的</a:t>
            </a:r>
            <a:r>
              <a:rPr lang="zh-CN"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约束</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0">
              <a:lnSpc>
                <a:spcPct val="120000"/>
              </a:lnSpc>
              <a:buNone/>
            </a:pPr>
            <a:r>
              <a:rPr lang="zh-CN"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3</a:t>
            </a:r>
            <a:r>
              <a:rPr lang="zh-CN"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生产与慈善是企业经济使命的伦理准则，企业只有通过发展生产，提高效益，才能造福于股东、员工、消费者以及整个社会与</a:t>
            </a:r>
            <a:r>
              <a:rPr lang="zh-CN"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民族</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0">
              <a:lnSpc>
                <a:spcPct val="120000"/>
              </a:lnSpc>
              <a:buNone/>
            </a:pPr>
            <a:r>
              <a:rPr lang="zh-CN"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4</a:t>
            </a:r>
            <a:r>
              <a:rPr lang="zh-CN"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企业伦理的核心内容是重视人、尊重人、以人为本和服务社会。不论是内部管理制度构建和组织创新，还是外部的营销策略、公关策略实施，都必须重视和尊重人的价值和地位，处处以人为本和服务社</a:t>
            </a:r>
            <a:r>
              <a:rPr lang="zh-CN"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会</a:t>
            </a:r>
            <a:endParaRPr lang="zh-CN" altLang="en-US"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p:txBody>
      </p:sp>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35" name="图片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630555" y="144145"/>
            <a:ext cx="2755265" cy="384175"/>
          </a:xfrm>
        </p:spPr>
        <p:txBody>
          <a:bodyPr>
            <a:noAutofit/>
          </a:bodyPr>
          <a:p>
            <a:r>
              <a:rPr lang="zh-CN" altLang="en-US" sz="20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商业伦理的概念</a:t>
            </a:r>
            <a:endParaRPr lang="zh-CN" altLang="en-US" sz="2000" b="1" spc="3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 name="think-cell Slide" r:id="rId2" imgW="5715" imgH="5715" progId="">
                  <p:embed/>
                </p:oleObj>
              </mc:Choice>
              <mc:Fallback>
                <p:oleObj name="think-cell Slide" r:id="rId2" imgW="5715" imgH="5715" progId="">
                  <p:embed/>
                  <p:pic>
                    <p:nvPicPr>
                      <p:cNvPr id="0" name="图片 3072"/>
                      <p:cNvPicPr>
                        <a:picLocks noChangeAspect="1"/>
                      </p:cNvPicPr>
                      <p:nvPr/>
                    </p:nvPicPr>
                    <p:blipFill>
                      <a:blip r:embed="rId3"/>
                      <a:stretch>
                        <a:fillRect/>
                      </a:stretch>
                    </p:blipFill>
                    <p:spPr>
                      <a:xfrm>
                        <a:off x="1588" y="1588"/>
                        <a:ext cx="1587" cy="1587"/>
                      </a:xfrm>
                      <a:prstGeom prst="rect">
                        <a:avLst/>
                      </a:prstGeom>
                      <a:noFill/>
                      <a:ln w="9525">
                        <a:noFill/>
                      </a:ln>
                    </p:spPr>
                  </p:pic>
                </p:oleObj>
              </mc:Fallback>
            </mc:AlternateContent>
          </a:graphicData>
        </a:graphic>
      </p:graphicFrame>
      <p:sp>
        <p:nvSpPr>
          <p:cNvPr id="12" name="矩形 6"/>
          <p:cNvSpPr>
            <a:spLocks noChangeArrowheads="1"/>
          </p:cNvSpPr>
          <p:nvPr/>
        </p:nvSpPr>
        <p:spPr bwMode="auto">
          <a:xfrm flipV="1">
            <a:off x="0" y="2970229"/>
            <a:ext cx="3446860" cy="277415"/>
          </a:xfrm>
          <a:prstGeom prst="rect">
            <a:avLst/>
          </a:prstGeom>
          <a:solidFill>
            <a:schemeClr val="tx1">
              <a:lumMod val="65000"/>
              <a:lumOff val="35000"/>
              <a:alpha val="39999"/>
            </a:schemeClr>
          </a:solidFill>
          <a:ln>
            <a:noFill/>
          </a:ln>
        </p:spPr>
        <p:txBody>
          <a:bodyPr lIns="68573" tIns="34287" rIns="68573" bIns="34287" anchor="ct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endParaRPr lang="zh-CN" altLang="zh-CN" sz="18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4" name="组合 8"/>
          <p:cNvGrpSpPr/>
          <p:nvPr/>
        </p:nvGrpSpPr>
        <p:grpSpPr bwMode="auto">
          <a:xfrm flipV="1">
            <a:off x="2590801" y="2970229"/>
            <a:ext cx="1735931" cy="1734740"/>
            <a:chOff x="0" y="0"/>
            <a:chExt cx="1970470" cy="1970470"/>
          </a:xfrm>
        </p:grpSpPr>
        <p:sp>
          <p:nvSpPr>
            <p:cNvPr id="15" name="任意多边形 9"/>
            <p:cNvSpPr>
              <a:spLocks noChangeArrowheads="1"/>
            </p:cNvSpPr>
            <p:nvPr/>
          </p:nvSpPr>
          <p:spPr bwMode="auto">
            <a:xfrm>
              <a:off x="0" y="0"/>
              <a:ext cx="1970470" cy="1523844"/>
            </a:xfrm>
            <a:custGeom>
              <a:avLst/>
              <a:gdLst>
                <a:gd name="T0" fmla="*/ 985235 w 1970470"/>
                <a:gd name="T1" fmla="*/ 0 h 1523844"/>
                <a:gd name="T2" fmla="*/ 1970470 w 1970470"/>
                <a:gd name="T3" fmla="*/ 985235 h 1523844"/>
                <a:gd name="T4" fmla="*/ 1851557 w 1970470"/>
                <a:gd name="T5" fmla="*/ 1454856 h 1523844"/>
                <a:gd name="T6" fmla="*/ 1809646 w 1970470"/>
                <a:gd name="T7" fmla="*/ 1523844 h 1523844"/>
                <a:gd name="T8" fmla="*/ 1380307 w 1970470"/>
                <a:gd name="T9" fmla="*/ 1523844 h 1523844"/>
                <a:gd name="T10" fmla="*/ 1458954 w 1970470"/>
                <a:gd name="T11" fmla="*/ 1458954 h 1523844"/>
                <a:gd name="T12" fmla="*/ 1655175 w 1970470"/>
                <a:gd name="T13" fmla="*/ 985235 h 1523844"/>
                <a:gd name="T14" fmla="*/ 985235 w 1970470"/>
                <a:gd name="T15" fmla="*/ 315295 h 1523844"/>
                <a:gd name="T16" fmla="*/ 315295 w 1970470"/>
                <a:gd name="T17" fmla="*/ 985235 h 1523844"/>
                <a:gd name="T18" fmla="*/ 511516 w 1970470"/>
                <a:gd name="T19" fmla="*/ 1458954 h 1523844"/>
                <a:gd name="T20" fmla="*/ 590163 w 1970470"/>
                <a:gd name="T21" fmla="*/ 1523844 h 1523844"/>
                <a:gd name="T22" fmla="*/ 160824 w 1970470"/>
                <a:gd name="T23" fmla="*/ 1523844 h 1523844"/>
                <a:gd name="T24" fmla="*/ 118913 w 1970470"/>
                <a:gd name="T25" fmla="*/ 1454856 h 1523844"/>
                <a:gd name="T26" fmla="*/ 0 w 1970470"/>
                <a:gd name="T27" fmla="*/ 985235 h 1523844"/>
                <a:gd name="T28" fmla="*/ 985235 w 1970470"/>
                <a:gd name="T29" fmla="*/ 0 h 15238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70470"/>
                <a:gd name="T46" fmla="*/ 0 h 1523844"/>
                <a:gd name="T47" fmla="*/ 1970470 w 1970470"/>
                <a:gd name="T48" fmla="*/ 1523844 h 15238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70470" h="1523844">
                  <a:moveTo>
                    <a:pt x="985235" y="0"/>
                  </a:moveTo>
                  <a:cubicBezTo>
                    <a:pt x="1529365" y="0"/>
                    <a:pt x="1970470" y="441105"/>
                    <a:pt x="1970470" y="985235"/>
                  </a:cubicBezTo>
                  <a:cubicBezTo>
                    <a:pt x="1970470" y="1155276"/>
                    <a:pt x="1927393" y="1315255"/>
                    <a:pt x="1851557" y="1454856"/>
                  </a:cubicBezTo>
                  <a:lnTo>
                    <a:pt x="1809646" y="1523844"/>
                  </a:lnTo>
                  <a:lnTo>
                    <a:pt x="1380307" y="1523844"/>
                  </a:lnTo>
                  <a:lnTo>
                    <a:pt x="1458954" y="1458954"/>
                  </a:lnTo>
                  <a:cubicBezTo>
                    <a:pt x="1580189" y="1337719"/>
                    <a:pt x="1655175" y="1170234"/>
                    <a:pt x="1655175" y="985235"/>
                  </a:cubicBezTo>
                  <a:cubicBezTo>
                    <a:pt x="1655175" y="615237"/>
                    <a:pt x="1355233" y="315295"/>
                    <a:pt x="985235" y="315295"/>
                  </a:cubicBezTo>
                  <a:cubicBezTo>
                    <a:pt x="615237" y="315295"/>
                    <a:pt x="315295" y="615237"/>
                    <a:pt x="315295" y="985235"/>
                  </a:cubicBezTo>
                  <a:cubicBezTo>
                    <a:pt x="315295" y="1170234"/>
                    <a:pt x="390281" y="1337719"/>
                    <a:pt x="511516" y="1458954"/>
                  </a:cubicBezTo>
                  <a:lnTo>
                    <a:pt x="590163" y="1523844"/>
                  </a:lnTo>
                  <a:lnTo>
                    <a:pt x="160824" y="1523844"/>
                  </a:lnTo>
                  <a:lnTo>
                    <a:pt x="118913" y="1454856"/>
                  </a:lnTo>
                  <a:cubicBezTo>
                    <a:pt x="43077" y="1315255"/>
                    <a:pt x="0" y="1155276"/>
                    <a:pt x="0" y="985235"/>
                  </a:cubicBezTo>
                  <a:cubicBezTo>
                    <a:pt x="0" y="441105"/>
                    <a:pt x="441105" y="0"/>
                    <a:pt x="985235" y="0"/>
                  </a:cubicBezTo>
                  <a:close/>
                </a:path>
              </a:pathLst>
            </a:custGeom>
            <a:solidFill>
              <a:schemeClr val="tx1">
                <a:lumMod val="65000"/>
                <a:lumOff val="35000"/>
                <a:alpha val="39999"/>
              </a:schemeClr>
            </a:solidFill>
            <a:ln>
              <a:noFill/>
            </a:ln>
            <a:extLst>
              <a:ext uri="{91240B29-F687-4F45-9708-019B960494DF}">
                <a14:hiddenLine xmlns:a14="http://schemas.microsoft.com/office/drawing/2010/main" w="12700">
                  <a:solidFill>
                    <a:srgbClr val="42719B"/>
                  </a:solidFill>
                  <a:bevel/>
                </a14:hiddenLine>
              </a:ext>
            </a:extLst>
          </p:spPr>
          <p:txBody>
            <a:bodyPr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16" name="任意多边形 10"/>
            <p:cNvSpPr>
              <a:spLocks noChangeArrowheads="1"/>
            </p:cNvSpPr>
            <p:nvPr/>
          </p:nvSpPr>
          <p:spPr bwMode="auto">
            <a:xfrm>
              <a:off x="160824" y="1523844"/>
              <a:ext cx="1648822" cy="446626"/>
            </a:xfrm>
            <a:custGeom>
              <a:avLst/>
              <a:gdLst>
                <a:gd name="T0" fmla="*/ 0 w 1648822"/>
                <a:gd name="T1" fmla="*/ 0 h 446626"/>
                <a:gd name="T2" fmla="*/ 429339 w 1648822"/>
                <a:gd name="T3" fmla="*/ 0 h 446626"/>
                <a:gd name="T4" fmla="*/ 449841 w 1648822"/>
                <a:gd name="T5" fmla="*/ 16916 h 446626"/>
                <a:gd name="T6" fmla="*/ 824411 w 1648822"/>
                <a:gd name="T7" fmla="*/ 131331 h 446626"/>
                <a:gd name="T8" fmla="*/ 1198981 w 1648822"/>
                <a:gd name="T9" fmla="*/ 16916 h 446626"/>
                <a:gd name="T10" fmla="*/ 1219483 w 1648822"/>
                <a:gd name="T11" fmla="*/ 0 h 446626"/>
                <a:gd name="T12" fmla="*/ 1648822 w 1648822"/>
                <a:gd name="T13" fmla="*/ 0 h 446626"/>
                <a:gd name="T14" fmla="*/ 1641383 w 1648822"/>
                <a:gd name="T15" fmla="*/ 12245 h 446626"/>
                <a:gd name="T16" fmla="*/ 824411 w 1648822"/>
                <a:gd name="T17" fmla="*/ 446626 h 446626"/>
                <a:gd name="T18" fmla="*/ 7439 w 1648822"/>
                <a:gd name="T19" fmla="*/ 12245 h 446626"/>
                <a:gd name="T20" fmla="*/ 0 w 1648822"/>
                <a:gd name="T21" fmla="*/ 0 h 4466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48822"/>
                <a:gd name="T34" fmla="*/ 0 h 446626"/>
                <a:gd name="T35" fmla="*/ 1648822 w 1648822"/>
                <a:gd name="T36" fmla="*/ 446626 h 4466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48822" h="446626">
                  <a:moveTo>
                    <a:pt x="0" y="0"/>
                  </a:moveTo>
                  <a:lnTo>
                    <a:pt x="429339" y="0"/>
                  </a:lnTo>
                  <a:lnTo>
                    <a:pt x="449841" y="16916"/>
                  </a:lnTo>
                  <a:cubicBezTo>
                    <a:pt x="556764" y="89152"/>
                    <a:pt x="685662" y="131331"/>
                    <a:pt x="824411" y="131331"/>
                  </a:cubicBezTo>
                  <a:cubicBezTo>
                    <a:pt x="963160" y="131331"/>
                    <a:pt x="1092058" y="89152"/>
                    <a:pt x="1198981" y="16916"/>
                  </a:cubicBezTo>
                  <a:lnTo>
                    <a:pt x="1219483" y="0"/>
                  </a:lnTo>
                  <a:lnTo>
                    <a:pt x="1648822" y="0"/>
                  </a:lnTo>
                  <a:lnTo>
                    <a:pt x="1641383" y="12245"/>
                  </a:lnTo>
                  <a:cubicBezTo>
                    <a:pt x="1464329" y="274319"/>
                    <a:pt x="1164492" y="446626"/>
                    <a:pt x="824411" y="446626"/>
                  </a:cubicBezTo>
                  <a:cubicBezTo>
                    <a:pt x="484330" y="446626"/>
                    <a:pt x="184493" y="274319"/>
                    <a:pt x="7439" y="12245"/>
                  </a:cubicBezTo>
                  <a:lnTo>
                    <a:pt x="0" y="0"/>
                  </a:lnTo>
                  <a:close/>
                </a:path>
              </a:pathLst>
            </a:custGeom>
            <a:solidFill>
              <a:srgbClr val="0067B0"/>
            </a:solidFill>
            <a:ln>
              <a:noFill/>
            </a:ln>
            <a:extLst>
              <a:ext uri="{91240B29-F687-4F45-9708-019B960494DF}">
                <a14:hiddenLine xmlns:a14="http://schemas.microsoft.com/office/drawing/2010/main" w="12700">
                  <a:solidFill>
                    <a:srgbClr val="42719B"/>
                  </a:solidFill>
                  <a:bevel/>
                </a14:hiddenLine>
              </a:ext>
            </a:extLst>
          </p:spPr>
          <p:txBody>
            <a:bodyPr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17" name="矩形 11"/>
          <p:cNvSpPr>
            <a:spLocks noChangeArrowheads="1"/>
          </p:cNvSpPr>
          <p:nvPr/>
        </p:nvSpPr>
        <p:spPr bwMode="auto">
          <a:xfrm flipV="1">
            <a:off x="5243512" y="2970229"/>
            <a:ext cx="3900488" cy="277415"/>
          </a:xfrm>
          <a:prstGeom prst="rect">
            <a:avLst/>
          </a:prstGeom>
          <a:solidFill>
            <a:schemeClr val="tx1">
              <a:lumMod val="65000"/>
              <a:lumOff val="35000"/>
              <a:alpha val="39999"/>
            </a:schemeClr>
          </a:solidFill>
          <a:ln>
            <a:noFill/>
          </a:ln>
        </p:spPr>
        <p:txBody>
          <a:bodyPr lIns="68573" tIns="34287" rIns="68573" bIns="34287" anchor="ct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endParaRPr lang="zh-CN" altLang="zh-CN" sz="18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9" name="组合 13"/>
          <p:cNvGrpSpPr/>
          <p:nvPr/>
        </p:nvGrpSpPr>
        <p:grpSpPr bwMode="auto">
          <a:xfrm flipV="1">
            <a:off x="4424363" y="2970229"/>
            <a:ext cx="1734741" cy="1734740"/>
            <a:chOff x="0" y="0"/>
            <a:chExt cx="1970470" cy="1970470"/>
          </a:xfrm>
        </p:grpSpPr>
        <p:sp>
          <p:nvSpPr>
            <p:cNvPr id="20" name="任意多边形 14"/>
            <p:cNvSpPr>
              <a:spLocks noChangeArrowheads="1"/>
            </p:cNvSpPr>
            <p:nvPr/>
          </p:nvSpPr>
          <p:spPr bwMode="auto">
            <a:xfrm>
              <a:off x="0" y="0"/>
              <a:ext cx="1970470" cy="1523844"/>
            </a:xfrm>
            <a:custGeom>
              <a:avLst/>
              <a:gdLst>
                <a:gd name="T0" fmla="*/ 985235 w 1970470"/>
                <a:gd name="T1" fmla="*/ 0 h 1523844"/>
                <a:gd name="T2" fmla="*/ 1970470 w 1970470"/>
                <a:gd name="T3" fmla="*/ 985235 h 1523844"/>
                <a:gd name="T4" fmla="*/ 1851557 w 1970470"/>
                <a:gd name="T5" fmla="*/ 1454856 h 1523844"/>
                <a:gd name="T6" fmla="*/ 1809646 w 1970470"/>
                <a:gd name="T7" fmla="*/ 1523844 h 1523844"/>
                <a:gd name="T8" fmla="*/ 1380307 w 1970470"/>
                <a:gd name="T9" fmla="*/ 1523844 h 1523844"/>
                <a:gd name="T10" fmla="*/ 1458954 w 1970470"/>
                <a:gd name="T11" fmla="*/ 1458954 h 1523844"/>
                <a:gd name="T12" fmla="*/ 1655175 w 1970470"/>
                <a:gd name="T13" fmla="*/ 985235 h 1523844"/>
                <a:gd name="T14" fmla="*/ 985235 w 1970470"/>
                <a:gd name="T15" fmla="*/ 315295 h 1523844"/>
                <a:gd name="T16" fmla="*/ 315295 w 1970470"/>
                <a:gd name="T17" fmla="*/ 985235 h 1523844"/>
                <a:gd name="T18" fmla="*/ 511516 w 1970470"/>
                <a:gd name="T19" fmla="*/ 1458954 h 1523844"/>
                <a:gd name="T20" fmla="*/ 590163 w 1970470"/>
                <a:gd name="T21" fmla="*/ 1523844 h 1523844"/>
                <a:gd name="T22" fmla="*/ 160824 w 1970470"/>
                <a:gd name="T23" fmla="*/ 1523844 h 1523844"/>
                <a:gd name="T24" fmla="*/ 118913 w 1970470"/>
                <a:gd name="T25" fmla="*/ 1454856 h 1523844"/>
                <a:gd name="T26" fmla="*/ 0 w 1970470"/>
                <a:gd name="T27" fmla="*/ 985235 h 1523844"/>
                <a:gd name="T28" fmla="*/ 985235 w 1970470"/>
                <a:gd name="T29" fmla="*/ 0 h 15238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70470"/>
                <a:gd name="T46" fmla="*/ 0 h 1523844"/>
                <a:gd name="T47" fmla="*/ 1970470 w 1970470"/>
                <a:gd name="T48" fmla="*/ 1523844 h 15238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70470" h="1523844">
                  <a:moveTo>
                    <a:pt x="985235" y="0"/>
                  </a:moveTo>
                  <a:cubicBezTo>
                    <a:pt x="1529365" y="0"/>
                    <a:pt x="1970470" y="441105"/>
                    <a:pt x="1970470" y="985235"/>
                  </a:cubicBezTo>
                  <a:cubicBezTo>
                    <a:pt x="1970470" y="1155276"/>
                    <a:pt x="1927393" y="1315255"/>
                    <a:pt x="1851557" y="1454856"/>
                  </a:cubicBezTo>
                  <a:lnTo>
                    <a:pt x="1809646" y="1523844"/>
                  </a:lnTo>
                  <a:lnTo>
                    <a:pt x="1380307" y="1523844"/>
                  </a:lnTo>
                  <a:lnTo>
                    <a:pt x="1458954" y="1458954"/>
                  </a:lnTo>
                  <a:cubicBezTo>
                    <a:pt x="1580189" y="1337719"/>
                    <a:pt x="1655175" y="1170234"/>
                    <a:pt x="1655175" y="985235"/>
                  </a:cubicBezTo>
                  <a:cubicBezTo>
                    <a:pt x="1655175" y="615237"/>
                    <a:pt x="1355233" y="315295"/>
                    <a:pt x="985235" y="315295"/>
                  </a:cubicBezTo>
                  <a:cubicBezTo>
                    <a:pt x="615237" y="315295"/>
                    <a:pt x="315295" y="615237"/>
                    <a:pt x="315295" y="985235"/>
                  </a:cubicBezTo>
                  <a:cubicBezTo>
                    <a:pt x="315295" y="1170234"/>
                    <a:pt x="390281" y="1337719"/>
                    <a:pt x="511516" y="1458954"/>
                  </a:cubicBezTo>
                  <a:lnTo>
                    <a:pt x="590163" y="1523844"/>
                  </a:lnTo>
                  <a:lnTo>
                    <a:pt x="160824" y="1523844"/>
                  </a:lnTo>
                  <a:lnTo>
                    <a:pt x="118913" y="1454856"/>
                  </a:lnTo>
                  <a:cubicBezTo>
                    <a:pt x="43077" y="1315255"/>
                    <a:pt x="0" y="1155276"/>
                    <a:pt x="0" y="985235"/>
                  </a:cubicBezTo>
                  <a:cubicBezTo>
                    <a:pt x="0" y="441105"/>
                    <a:pt x="441105" y="0"/>
                    <a:pt x="985235" y="0"/>
                  </a:cubicBezTo>
                  <a:close/>
                </a:path>
              </a:pathLst>
            </a:custGeom>
            <a:solidFill>
              <a:schemeClr val="tx1">
                <a:lumMod val="65000"/>
                <a:lumOff val="35000"/>
                <a:alpha val="39999"/>
              </a:schemeClr>
            </a:solidFill>
            <a:ln>
              <a:noFill/>
            </a:ln>
            <a:extLst>
              <a:ext uri="{91240B29-F687-4F45-9708-019B960494DF}">
                <a14:hiddenLine xmlns:a14="http://schemas.microsoft.com/office/drawing/2010/main" w="12700">
                  <a:solidFill>
                    <a:srgbClr val="42719B"/>
                  </a:solidFill>
                  <a:bevel/>
                </a14:hiddenLine>
              </a:ext>
            </a:extLst>
          </p:spPr>
          <p:txBody>
            <a:bodyPr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1" name="任意多边形 15"/>
            <p:cNvSpPr>
              <a:spLocks noChangeArrowheads="1"/>
            </p:cNvSpPr>
            <p:nvPr/>
          </p:nvSpPr>
          <p:spPr bwMode="auto">
            <a:xfrm>
              <a:off x="160824" y="1523844"/>
              <a:ext cx="1648822" cy="446626"/>
            </a:xfrm>
            <a:custGeom>
              <a:avLst/>
              <a:gdLst>
                <a:gd name="T0" fmla="*/ 0 w 1648822"/>
                <a:gd name="T1" fmla="*/ 0 h 446626"/>
                <a:gd name="T2" fmla="*/ 429339 w 1648822"/>
                <a:gd name="T3" fmla="*/ 0 h 446626"/>
                <a:gd name="T4" fmla="*/ 449841 w 1648822"/>
                <a:gd name="T5" fmla="*/ 16916 h 446626"/>
                <a:gd name="T6" fmla="*/ 824411 w 1648822"/>
                <a:gd name="T7" fmla="*/ 131331 h 446626"/>
                <a:gd name="T8" fmla="*/ 1198981 w 1648822"/>
                <a:gd name="T9" fmla="*/ 16916 h 446626"/>
                <a:gd name="T10" fmla="*/ 1219483 w 1648822"/>
                <a:gd name="T11" fmla="*/ 0 h 446626"/>
                <a:gd name="T12" fmla="*/ 1648822 w 1648822"/>
                <a:gd name="T13" fmla="*/ 0 h 446626"/>
                <a:gd name="T14" fmla="*/ 1641383 w 1648822"/>
                <a:gd name="T15" fmla="*/ 12245 h 446626"/>
                <a:gd name="T16" fmla="*/ 824411 w 1648822"/>
                <a:gd name="T17" fmla="*/ 446626 h 446626"/>
                <a:gd name="T18" fmla="*/ 7439 w 1648822"/>
                <a:gd name="T19" fmla="*/ 12245 h 446626"/>
                <a:gd name="T20" fmla="*/ 0 w 1648822"/>
                <a:gd name="T21" fmla="*/ 0 h 4466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48822"/>
                <a:gd name="T34" fmla="*/ 0 h 446626"/>
                <a:gd name="T35" fmla="*/ 1648822 w 1648822"/>
                <a:gd name="T36" fmla="*/ 446626 h 4466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48822" h="446626">
                  <a:moveTo>
                    <a:pt x="0" y="0"/>
                  </a:moveTo>
                  <a:lnTo>
                    <a:pt x="429339" y="0"/>
                  </a:lnTo>
                  <a:lnTo>
                    <a:pt x="449841" y="16916"/>
                  </a:lnTo>
                  <a:cubicBezTo>
                    <a:pt x="556764" y="89152"/>
                    <a:pt x="685662" y="131331"/>
                    <a:pt x="824411" y="131331"/>
                  </a:cubicBezTo>
                  <a:cubicBezTo>
                    <a:pt x="963160" y="131331"/>
                    <a:pt x="1092058" y="89152"/>
                    <a:pt x="1198981" y="16916"/>
                  </a:cubicBezTo>
                  <a:lnTo>
                    <a:pt x="1219483" y="0"/>
                  </a:lnTo>
                  <a:lnTo>
                    <a:pt x="1648822" y="0"/>
                  </a:lnTo>
                  <a:lnTo>
                    <a:pt x="1641383" y="12245"/>
                  </a:lnTo>
                  <a:cubicBezTo>
                    <a:pt x="1464329" y="274319"/>
                    <a:pt x="1164492" y="446626"/>
                    <a:pt x="824411" y="446626"/>
                  </a:cubicBezTo>
                  <a:cubicBezTo>
                    <a:pt x="484330" y="446626"/>
                    <a:pt x="184493" y="274319"/>
                    <a:pt x="7439" y="12245"/>
                  </a:cubicBezTo>
                  <a:lnTo>
                    <a:pt x="0" y="0"/>
                  </a:lnTo>
                  <a:close/>
                </a:path>
              </a:pathLst>
            </a:custGeom>
            <a:solidFill>
              <a:srgbClr val="03A9F3"/>
            </a:solidFill>
            <a:ln>
              <a:noFill/>
            </a:ln>
            <a:extLst>
              <a:ext uri="{91240B29-F687-4F45-9708-019B960494DF}">
                <a14:hiddenLine xmlns:a14="http://schemas.microsoft.com/office/drawing/2010/main" w="12700">
                  <a:solidFill>
                    <a:srgbClr val="42719B"/>
                  </a:solidFill>
                  <a:bevel/>
                </a14:hiddenLine>
              </a:ext>
            </a:extLst>
          </p:spPr>
          <p:txBody>
            <a:bodyPr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7" name="矩形 6"/>
          <p:cNvSpPr>
            <a:spLocks noChangeArrowheads="1"/>
          </p:cNvSpPr>
          <p:nvPr/>
        </p:nvSpPr>
        <p:spPr bwMode="auto">
          <a:xfrm>
            <a:off x="0" y="2442781"/>
            <a:ext cx="5054204" cy="276225"/>
          </a:xfrm>
          <a:prstGeom prst="rect">
            <a:avLst/>
          </a:prstGeom>
          <a:solidFill>
            <a:schemeClr val="tx1">
              <a:lumMod val="65000"/>
              <a:lumOff val="35000"/>
              <a:alpha val="39999"/>
            </a:schemeClr>
          </a:solidFill>
          <a:ln>
            <a:noFill/>
          </a:ln>
        </p:spPr>
        <p:txBody>
          <a:bodyPr lIns="68573" tIns="34287" rIns="68573" bIns="34287" anchor="ct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endParaRPr lang="zh-CN" altLang="zh-CN" sz="18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9" name="组合 3"/>
          <p:cNvGrpSpPr/>
          <p:nvPr/>
        </p:nvGrpSpPr>
        <p:grpSpPr bwMode="auto">
          <a:xfrm>
            <a:off x="4214813" y="975701"/>
            <a:ext cx="1734741" cy="1735931"/>
            <a:chOff x="0" y="0"/>
            <a:chExt cx="1970470" cy="1970470"/>
          </a:xfrm>
        </p:grpSpPr>
        <p:sp>
          <p:nvSpPr>
            <p:cNvPr id="10" name="任意多边形 4"/>
            <p:cNvSpPr>
              <a:spLocks noChangeArrowheads="1"/>
            </p:cNvSpPr>
            <p:nvPr/>
          </p:nvSpPr>
          <p:spPr bwMode="auto">
            <a:xfrm>
              <a:off x="0" y="0"/>
              <a:ext cx="1970470" cy="1523844"/>
            </a:xfrm>
            <a:custGeom>
              <a:avLst/>
              <a:gdLst>
                <a:gd name="T0" fmla="*/ 985235 w 1970470"/>
                <a:gd name="T1" fmla="*/ 0 h 1523844"/>
                <a:gd name="T2" fmla="*/ 1970470 w 1970470"/>
                <a:gd name="T3" fmla="*/ 985235 h 1523844"/>
                <a:gd name="T4" fmla="*/ 1851557 w 1970470"/>
                <a:gd name="T5" fmla="*/ 1454856 h 1523844"/>
                <a:gd name="T6" fmla="*/ 1809646 w 1970470"/>
                <a:gd name="T7" fmla="*/ 1523844 h 1523844"/>
                <a:gd name="T8" fmla="*/ 1380307 w 1970470"/>
                <a:gd name="T9" fmla="*/ 1523844 h 1523844"/>
                <a:gd name="T10" fmla="*/ 1458954 w 1970470"/>
                <a:gd name="T11" fmla="*/ 1458954 h 1523844"/>
                <a:gd name="T12" fmla="*/ 1655175 w 1970470"/>
                <a:gd name="T13" fmla="*/ 985235 h 1523844"/>
                <a:gd name="T14" fmla="*/ 985235 w 1970470"/>
                <a:gd name="T15" fmla="*/ 315295 h 1523844"/>
                <a:gd name="T16" fmla="*/ 315295 w 1970470"/>
                <a:gd name="T17" fmla="*/ 985235 h 1523844"/>
                <a:gd name="T18" fmla="*/ 511516 w 1970470"/>
                <a:gd name="T19" fmla="*/ 1458954 h 1523844"/>
                <a:gd name="T20" fmla="*/ 590163 w 1970470"/>
                <a:gd name="T21" fmla="*/ 1523844 h 1523844"/>
                <a:gd name="T22" fmla="*/ 160824 w 1970470"/>
                <a:gd name="T23" fmla="*/ 1523844 h 1523844"/>
                <a:gd name="T24" fmla="*/ 118913 w 1970470"/>
                <a:gd name="T25" fmla="*/ 1454856 h 1523844"/>
                <a:gd name="T26" fmla="*/ 0 w 1970470"/>
                <a:gd name="T27" fmla="*/ 985235 h 1523844"/>
                <a:gd name="T28" fmla="*/ 985235 w 1970470"/>
                <a:gd name="T29" fmla="*/ 0 h 15238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70470"/>
                <a:gd name="T46" fmla="*/ 0 h 1523844"/>
                <a:gd name="T47" fmla="*/ 1970470 w 1970470"/>
                <a:gd name="T48" fmla="*/ 1523844 h 15238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70470" h="1523844">
                  <a:moveTo>
                    <a:pt x="985235" y="0"/>
                  </a:moveTo>
                  <a:cubicBezTo>
                    <a:pt x="1529365" y="0"/>
                    <a:pt x="1970470" y="441105"/>
                    <a:pt x="1970470" y="985235"/>
                  </a:cubicBezTo>
                  <a:cubicBezTo>
                    <a:pt x="1970470" y="1155276"/>
                    <a:pt x="1927393" y="1315255"/>
                    <a:pt x="1851557" y="1454856"/>
                  </a:cubicBezTo>
                  <a:lnTo>
                    <a:pt x="1809646" y="1523844"/>
                  </a:lnTo>
                  <a:lnTo>
                    <a:pt x="1380307" y="1523844"/>
                  </a:lnTo>
                  <a:lnTo>
                    <a:pt x="1458954" y="1458954"/>
                  </a:lnTo>
                  <a:cubicBezTo>
                    <a:pt x="1580189" y="1337719"/>
                    <a:pt x="1655175" y="1170234"/>
                    <a:pt x="1655175" y="985235"/>
                  </a:cubicBezTo>
                  <a:cubicBezTo>
                    <a:pt x="1655175" y="615237"/>
                    <a:pt x="1355233" y="315295"/>
                    <a:pt x="985235" y="315295"/>
                  </a:cubicBezTo>
                  <a:cubicBezTo>
                    <a:pt x="615237" y="315295"/>
                    <a:pt x="315295" y="615237"/>
                    <a:pt x="315295" y="985235"/>
                  </a:cubicBezTo>
                  <a:cubicBezTo>
                    <a:pt x="315295" y="1170234"/>
                    <a:pt x="390281" y="1337719"/>
                    <a:pt x="511516" y="1458954"/>
                  </a:cubicBezTo>
                  <a:lnTo>
                    <a:pt x="590163" y="1523844"/>
                  </a:lnTo>
                  <a:lnTo>
                    <a:pt x="160824" y="1523844"/>
                  </a:lnTo>
                  <a:lnTo>
                    <a:pt x="118913" y="1454856"/>
                  </a:lnTo>
                  <a:cubicBezTo>
                    <a:pt x="43077" y="1315255"/>
                    <a:pt x="0" y="1155276"/>
                    <a:pt x="0" y="985235"/>
                  </a:cubicBezTo>
                  <a:cubicBezTo>
                    <a:pt x="0" y="441105"/>
                    <a:pt x="441105" y="0"/>
                    <a:pt x="985235" y="0"/>
                  </a:cubicBezTo>
                  <a:close/>
                </a:path>
              </a:pathLst>
            </a:custGeom>
            <a:solidFill>
              <a:schemeClr val="tx1">
                <a:lumMod val="65000"/>
                <a:lumOff val="35000"/>
                <a:alpha val="39999"/>
              </a:schemeClr>
            </a:solidFill>
            <a:ln>
              <a:noFill/>
            </a:ln>
            <a:extLst>
              <a:ext uri="{91240B29-F687-4F45-9708-019B960494DF}">
                <a14:hiddenLine xmlns:a14="http://schemas.microsoft.com/office/drawing/2010/main" w="12700">
                  <a:solidFill>
                    <a:srgbClr val="42719B"/>
                  </a:solidFill>
                  <a:bevel/>
                </a14:hiddenLine>
              </a:ext>
            </a:extLst>
          </p:spPr>
          <p:txBody>
            <a:bodyPr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11" name="任意多边形 5"/>
            <p:cNvSpPr>
              <a:spLocks noChangeArrowheads="1"/>
            </p:cNvSpPr>
            <p:nvPr/>
          </p:nvSpPr>
          <p:spPr bwMode="auto">
            <a:xfrm>
              <a:off x="160824" y="1523844"/>
              <a:ext cx="1648822" cy="446626"/>
            </a:xfrm>
            <a:custGeom>
              <a:avLst/>
              <a:gdLst>
                <a:gd name="T0" fmla="*/ 0 w 1648822"/>
                <a:gd name="T1" fmla="*/ 0 h 446626"/>
                <a:gd name="T2" fmla="*/ 429339 w 1648822"/>
                <a:gd name="T3" fmla="*/ 0 h 446626"/>
                <a:gd name="T4" fmla="*/ 449841 w 1648822"/>
                <a:gd name="T5" fmla="*/ 16916 h 446626"/>
                <a:gd name="T6" fmla="*/ 824411 w 1648822"/>
                <a:gd name="T7" fmla="*/ 131331 h 446626"/>
                <a:gd name="T8" fmla="*/ 1198981 w 1648822"/>
                <a:gd name="T9" fmla="*/ 16916 h 446626"/>
                <a:gd name="T10" fmla="*/ 1219483 w 1648822"/>
                <a:gd name="T11" fmla="*/ 0 h 446626"/>
                <a:gd name="T12" fmla="*/ 1648822 w 1648822"/>
                <a:gd name="T13" fmla="*/ 0 h 446626"/>
                <a:gd name="T14" fmla="*/ 1641383 w 1648822"/>
                <a:gd name="T15" fmla="*/ 12245 h 446626"/>
                <a:gd name="T16" fmla="*/ 824411 w 1648822"/>
                <a:gd name="T17" fmla="*/ 446626 h 446626"/>
                <a:gd name="T18" fmla="*/ 7439 w 1648822"/>
                <a:gd name="T19" fmla="*/ 12245 h 446626"/>
                <a:gd name="T20" fmla="*/ 0 w 1648822"/>
                <a:gd name="T21" fmla="*/ 0 h 4466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48822"/>
                <a:gd name="T34" fmla="*/ 0 h 446626"/>
                <a:gd name="T35" fmla="*/ 1648822 w 1648822"/>
                <a:gd name="T36" fmla="*/ 446626 h 4466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48822" h="446626">
                  <a:moveTo>
                    <a:pt x="0" y="0"/>
                  </a:moveTo>
                  <a:lnTo>
                    <a:pt x="429339" y="0"/>
                  </a:lnTo>
                  <a:lnTo>
                    <a:pt x="449841" y="16916"/>
                  </a:lnTo>
                  <a:cubicBezTo>
                    <a:pt x="556764" y="89152"/>
                    <a:pt x="685662" y="131331"/>
                    <a:pt x="824411" y="131331"/>
                  </a:cubicBezTo>
                  <a:cubicBezTo>
                    <a:pt x="963160" y="131331"/>
                    <a:pt x="1092058" y="89152"/>
                    <a:pt x="1198981" y="16916"/>
                  </a:cubicBezTo>
                  <a:lnTo>
                    <a:pt x="1219483" y="0"/>
                  </a:lnTo>
                  <a:lnTo>
                    <a:pt x="1648822" y="0"/>
                  </a:lnTo>
                  <a:lnTo>
                    <a:pt x="1641383" y="12245"/>
                  </a:lnTo>
                  <a:cubicBezTo>
                    <a:pt x="1464329" y="274319"/>
                    <a:pt x="1164492" y="446626"/>
                    <a:pt x="824411" y="446626"/>
                  </a:cubicBezTo>
                  <a:cubicBezTo>
                    <a:pt x="484330" y="446626"/>
                    <a:pt x="184493" y="274319"/>
                    <a:pt x="7439" y="12245"/>
                  </a:cubicBezTo>
                  <a:lnTo>
                    <a:pt x="0" y="0"/>
                  </a:lnTo>
                  <a:close/>
                </a:path>
              </a:pathLst>
            </a:custGeom>
            <a:solidFill>
              <a:srgbClr val="0067B0"/>
            </a:solidFill>
            <a:ln>
              <a:noFill/>
            </a:ln>
            <a:extLst>
              <a:ext uri="{91240B29-F687-4F45-9708-019B960494DF}">
                <a14:hiddenLine xmlns:a14="http://schemas.microsoft.com/office/drawing/2010/main" w="12700">
                  <a:solidFill>
                    <a:srgbClr val="42719B"/>
                  </a:solidFill>
                  <a:bevel/>
                </a14:hiddenLine>
              </a:ext>
            </a:extLst>
          </p:spPr>
          <p:txBody>
            <a:bodyPr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5" name="任意多边形 4"/>
          <p:cNvSpPr>
            <a:spLocks noChangeArrowheads="1"/>
          </p:cNvSpPr>
          <p:nvPr/>
        </p:nvSpPr>
        <p:spPr bwMode="auto">
          <a:xfrm>
            <a:off x="8743950" y="4533518"/>
            <a:ext cx="476250" cy="300038"/>
          </a:xfrm>
          <a:custGeom>
            <a:avLst/>
            <a:gdLst>
              <a:gd name="T0" fmla="*/ 154365 w 808522"/>
              <a:gd name="T1" fmla="*/ 0 h 510140"/>
              <a:gd name="T2" fmla="*/ 157334 w 808522"/>
              <a:gd name="T3" fmla="*/ 0 h 510140"/>
              <a:gd name="T4" fmla="*/ 498719 w 808522"/>
              <a:gd name="T5" fmla="*/ 0 h 510140"/>
              <a:gd name="T6" fmla="*/ 498719 w 808522"/>
              <a:gd name="T7" fmla="*/ 313717 h 510140"/>
              <a:gd name="T8" fmla="*/ 157341 w 808522"/>
              <a:gd name="T9" fmla="*/ 313717 h 510140"/>
              <a:gd name="T10" fmla="*/ 157334 w 808522"/>
              <a:gd name="T11" fmla="*/ 313718 h 510140"/>
              <a:gd name="T12" fmla="*/ 157328 w 808522"/>
              <a:gd name="T13" fmla="*/ 313717 h 510140"/>
              <a:gd name="T14" fmla="*/ 154365 w 808522"/>
              <a:gd name="T15" fmla="*/ 313717 h 510140"/>
              <a:gd name="T16" fmla="*/ 154365 w 808522"/>
              <a:gd name="T17" fmla="*/ 313420 h 510140"/>
              <a:gd name="T18" fmla="*/ 125625 w 808522"/>
              <a:gd name="T19" fmla="*/ 310531 h 510140"/>
              <a:gd name="T20" fmla="*/ 0 w 808522"/>
              <a:gd name="T21" fmla="*/ 156859 h 510140"/>
              <a:gd name="T22" fmla="*/ 125625 w 808522"/>
              <a:gd name="T23" fmla="*/ 3187 h 510140"/>
              <a:gd name="T24" fmla="*/ 154365 w 808522"/>
              <a:gd name="T25" fmla="*/ 298 h 5101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8522"/>
              <a:gd name="T40" fmla="*/ 0 h 510140"/>
              <a:gd name="T41" fmla="*/ 808522 w 808522"/>
              <a:gd name="T42" fmla="*/ 510140 h 5101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8522" h="510140">
                <a:moveTo>
                  <a:pt x="250256" y="0"/>
                </a:moveTo>
                <a:lnTo>
                  <a:pt x="255070" y="0"/>
                </a:lnTo>
                <a:lnTo>
                  <a:pt x="808522" y="0"/>
                </a:lnTo>
                <a:lnTo>
                  <a:pt x="808522" y="510139"/>
                </a:lnTo>
                <a:lnTo>
                  <a:pt x="255080" y="510139"/>
                </a:lnTo>
                <a:lnTo>
                  <a:pt x="255070" y="510140"/>
                </a:lnTo>
                <a:lnTo>
                  <a:pt x="255060" y="510139"/>
                </a:lnTo>
                <a:lnTo>
                  <a:pt x="250256" y="510139"/>
                </a:lnTo>
                <a:lnTo>
                  <a:pt x="250256" y="509655"/>
                </a:lnTo>
                <a:lnTo>
                  <a:pt x="203664" y="504958"/>
                </a:lnTo>
                <a:cubicBezTo>
                  <a:pt x="87433" y="481174"/>
                  <a:pt x="0" y="378332"/>
                  <a:pt x="0" y="255070"/>
                </a:cubicBezTo>
                <a:cubicBezTo>
                  <a:pt x="0" y="131808"/>
                  <a:pt x="87433" y="28967"/>
                  <a:pt x="203664" y="5182"/>
                </a:cubicBezTo>
                <a:lnTo>
                  <a:pt x="250256" y="485"/>
                </a:lnTo>
                <a:lnTo>
                  <a:pt x="250256" y="0"/>
                </a:lnTo>
                <a:close/>
              </a:path>
            </a:pathLst>
          </a:custGeom>
          <a:solidFill>
            <a:srgbClr val="F2F2F2">
              <a:alpha val="29803"/>
            </a:srgbClr>
          </a:solidFill>
          <a:ln>
            <a:noFill/>
          </a:ln>
          <a:extLst>
            <a:ext uri="{91240B29-F687-4F45-9708-019B960494DF}">
              <a14:hiddenLine xmlns:a14="http://schemas.microsoft.com/office/drawing/2010/main" w="12700">
                <a:solidFill>
                  <a:srgbClr val="42719B"/>
                </a:solidFill>
                <a:bevel/>
              </a14:hiddenLine>
            </a:ext>
          </a:extLst>
        </p:spPr>
        <p:txBody>
          <a:bodyPr lIns="68580" tIns="34290" rIns="68580" bIns="34290"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6" name="TextBox 15"/>
          <p:cNvSpPr>
            <a:spLocks noChangeArrowheads="1"/>
          </p:cNvSpPr>
          <p:nvPr/>
        </p:nvSpPr>
        <p:spPr bwMode="auto">
          <a:xfrm>
            <a:off x="8803482" y="4568047"/>
            <a:ext cx="340519" cy="219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1419" tIns="25709" rIns="51419" bIns="25709">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zh-CN" altLang="zh-CN" sz="1100">
                <a:solidFill>
                  <a:schemeClr val="bg1"/>
                </a:solidFill>
                <a:latin typeface="Arial" panose="020B0604020202020204" pitchFamily="34" charset="0"/>
                <a:ea typeface="微软雅黑" panose="020B0503020204020204" pitchFamily="34" charset="-122"/>
                <a:cs typeface="Arial Unicode MS" pitchFamily="34" charset="-122"/>
                <a:sym typeface="Arial" panose="020B0604020202020204" pitchFamily="34" charset="0"/>
              </a:rPr>
              <a:t>* </a:t>
            </a:r>
            <a:endParaRPr lang="zh-CN" altLang="zh-CN" sz="1100" b="1">
              <a:solidFill>
                <a:schemeClr val="bg1"/>
              </a:solidFill>
              <a:latin typeface="Arial" panose="020B0604020202020204" pitchFamily="34" charset="0"/>
              <a:ea typeface="微软雅黑" panose="020B0503020204020204" pitchFamily="34" charset="-122"/>
              <a:cs typeface="Arial Unicode MS" pitchFamily="34" charset="-122"/>
              <a:sym typeface="Arial" panose="020B0604020202020204" pitchFamily="34" charset="0"/>
            </a:endParaRPr>
          </a:p>
        </p:txBody>
      </p:sp>
      <p:grpSp>
        <p:nvGrpSpPr>
          <p:cNvPr id="48" name="组合 47"/>
          <p:cNvGrpSpPr/>
          <p:nvPr/>
        </p:nvGrpSpPr>
        <p:grpSpPr>
          <a:xfrm>
            <a:off x="4481014" y="1136243"/>
            <a:ext cx="1244010" cy="1244013"/>
            <a:chOff x="4481014" y="1320593"/>
            <a:chExt cx="1244010" cy="1244013"/>
          </a:xfrm>
        </p:grpSpPr>
        <p:grpSp>
          <p:nvGrpSpPr>
            <p:cNvPr id="29" name="组合 28"/>
            <p:cNvGrpSpPr/>
            <p:nvPr/>
          </p:nvGrpSpPr>
          <p:grpSpPr>
            <a:xfrm>
              <a:off x="4481014" y="1320593"/>
              <a:ext cx="1244010" cy="1244013"/>
              <a:chOff x="304800" y="673100"/>
              <a:chExt cx="4000500" cy="4000500"/>
            </a:xfrm>
            <a:effectLst>
              <a:outerShdw blurRad="444500" dist="254000" dir="8100000" algn="tr" rotWithShape="0">
                <a:prstClr val="black">
                  <a:alpha val="50000"/>
                </a:prstClr>
              </a:outerShdw>
            </a:effectLst>
          </p:grpSpPr>
          <p:sp>
            <p:nvSpPr>
              <p:cNvPr id="31" name="同心圆 30"/>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32" name="椭圆 31"/>
              <p:cNvSpPr/>
              <p:nvPr/>
            </p:nvSpPr>
            <p:spPr>
              <a:xfrm>
                <a:off x="392108" y="760412"/>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8" name="文本框 3"/>
            <p:cNvSpPr>
              <a:spLocks noChangeArrowheads="1"/>
            </p:cNvSpPr>
            <p:nvPr/>
          </p:nvSpPr>
          <p:spPr bwMode="auto">
            <a:xfrm>
              <a:off x="4870361" y="1630538"/>
              <a:ext cx="423820" cy="623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spcBef>
                  <a:spcPct val="0"/>
                </a:spcBef>
                <a:buFont typeface="Arial" panose="020B0604020202020204" pitchFamily="34" charset="0"/>
                <a:buNone/>
              </a:pPr>
              <a:r>
                <a:rPr lang="en-US" altLang="zh-CN" sz="4000"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1</a:t>
              </a:r>
              <a:endParaRPr lang="zh-CN" altLang="en-US" sz="45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9" name="组合 48"/>
          <p:cNvGrpSpPr/>
          <p:nvPr/>
        </p:nvGrpSpPr>
        <p:grpSpPr>
          <a:xfrm>
            <a:off x="2824855" y="3206427"/>
            <a:ext cx="1244010" cy="1244013"/>
            <a:chOff x="2824855" y="3294915"/>
            <a:chExt cx="1244010" cy="1244013"/>
          </a:xfrm>
        </p:grpSpPr>
        <p:grpSp>
          <p:nvGrpSpPr>
            <p:cNvPr id="40" name="组合 39"/>
            <p:cNvGrpSpPr/>
            <p:nvPr/>
          </p:nvGrpSpPr>
          <p:grpSpPr>
            <a:xfrm>
              <a:off x="2824855" y="3294915"/>
              <a:ext cx="1244010" cy="1244013"/>
              <a:chOff x="304800" y="673100"/>
              <a:chExt cx="4000500" cy="4000500"/>
            </a:xfrm>
            <a:effectLst>
              <a:outerShdw blurRad="444500" dist="254000" dir="8100000" algn="tr" rotWithShape="0">
                <a:prstClr val="black">
                  <a:alpha val="50000"/>
                </a:prstClr>
              </a:outerShdw>
            </a:effectLst>
          </p:grpSpPr>
          <p:sp>
            <p:nvSpPr>
              <p:cNvPr id="41" name="同心圆 40"/>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椭圆 41"/>
              <p:cNvSpPr/>
              <p:nvPr/>
            </p:nvSpPr>
            <p:spPr>
              <a:xfrm>
                <a:off x="392108" y="760412"/>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13" name="文本框 16"/>
            <p:cNvSpPr>
              <a:spLocks noChangeArrowheads="1"/>
            </p:cNvSpPr>
            <p:nvPr/>
          </p:nvSpPr>
          <p:spPr bwMode="auto">
            <a:xfrm>
              <a:off x="3283496" y="3552977"/>
              <a:ext cx="423820" cy="623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spcBef>
                  <a:spcPct val="0"/>
                </a:spcBef>
                <a:buFont typeface="Arial" panose="020B0604020202020204" pitchFamily="34" charset="0"/>
                <a:buNone/>
              </a:pPr>
              <a:r>
                <a:rPr lang="en-US" altLang="zh-CN" sz="4000"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2</a:t>
              </a:r>
              <a:endParaRPr lang="zh-CN" altLang="en-US" sz="40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0" name="组合 49"/>
          <p:cNvGrpSpPr/>
          <p:nvPr/>
        </p:nvGrpSpPr>
        <p:grpSpPr>
          <a:xfrm>
            <a:off x="4700208" y="3206162"/>
            <a:ext cx="1244010" cy="1244013"/>
            <a:chOff x="4700208" y="3294650"/>
            <a:chExt cx="1244010" cy="1244013"/>
          </a:xfrm>
        </p:grpSpPr>
        <p:grpSp>
          <p:nvGrpSpPr>
            <p:cNvPr id="37" name="组合 36"/>
            <p:cNvGrpSpPr/>
            <p:nvPr/>
          </p:nvGrpSpPr>
          <p:grpSpPr>
            <a:xfrm>
              <a:off x="4700208" y="3294650"/>
              <a:ext cx="1244010" cy="1244013"/>
              <a:chOff x="304800" y="673100"/>
              <a:chExt cx="4000500" cy="4000500"/>
            </a:xfrm>
            <a:effectLst>
              <a:outerShdw blurRad="444500" dist="254000" dir="8100000" algn="tr" rotWithShape="0">
                <a:prstClr val="black">
                  <a:alpha val="50000"/>
                </a:prstClr>
              </a:outerShdw>
            </a:effectLst>
          </p:grpSpPr>
          <p:sp>
            <p:nvSpPr>
              <p:cNvPr id="38" name="同心圆 37"/>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椭圆 38"/>
              <p:cNvSpPr/>
              <p:nvPr/>
            </p:nvSpPr>
            <p:spPr>
              <a:xfrm>
                <a:off x="392108" y="760412"/>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18" name="文本框 24"/>
            <p:cNvSpPr>
              <a:spLocks noChangeArrowheads="1"/>
            </p:cNvSpPr>
            <p:nvPr/>
          </p:nvSpPr>
          <p:spPr bwMode="auto">
            <a:xfrm>
              <a:off x="5093443" y="3528013"/>
              <a:ext cx="452674" cy="678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spcBef>
                  <a:spcPct val="0"/>
                </a:spcBef>
                <a:buFont typeface="Arial" panose="020B0604020202020204" pitchFamily="34" charset="0"/>
                <a:buNone/>
              </a:pPr>
              <a:r>
                <a:rPr lang="en-US" altLang="zh-CN" sz="44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3</a:t>
              </a:r>
              <a:endParaRPr lang="zh-CN" altLang="en-US" sz="44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22" name="TextBox 59"/>
          <p:cNvSpPr>
            <a:spLocks noChangeArrowheads="1"/>
          </p:cNvSpPr>
          <p:nvPr/>
        </p:nvSpPr>
        <p:spPr bwMode="auto">
          <a:xfrm flipH="1">
            <a:off x="1460090" y="1192282"/>
            <a:ext cx="2461828" cy="297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r">
              <a:lnSpc>
                <a:spcPct val="100000"/>
              </a:lnSpc>
              <a:spcBef>
                <a:spcPct val="0"/>
              </a:spcBef>
              <a:buFont typeface="Arial" panose="020B0604020202020204" pitchFamily="34" charset="0"/>
              <a:buNone/>
            </a:pPr>
            <a:r>
              <a:rPr lang="zh-CN" altLang="en-US" sz="1500" dirty="0">
                <a:solidFill>
                  <a:srgbClr val="03A9F3"/>
                </a:solidFill>
                <a:latin typeface="Arial" panose="020B0604020202020204" pitchFamily="34" charset="0"/>
                <a:ea typeface="微软雅黑" panose="020B0503020204020204" pitchFamily="34" charset="-122"/>
                <a:sym typeface="Arial" panose="020B0604020202020204" pitchFamily="34" charset="0"/>
              </a:rPr>
              <a:t>商业伦理超越法律的本质</a:t>
            </a:r>
            <a:endParaRPr lang="en-US" altLang="zh-CN" sz="15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矩形 17"/>
          <p:cNvSpPr>
            <a:spLocks noChangeArrowheads="1"/>
          </p:cNvSpPr>
          <p:nvPr/>
        </p:nvSpPr>
        <p:spPr bwMode="auto">
          <a:xfrm>
            <a:off x="443708" y="1472080"/>
            <a:ext cx="354726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14000"/>
              </a:lnSpc>
              <a:spcBef>
                <a:spcPct val="0"/>
              </a:spcBef>
              <a:buFont typeface="Arial" panose="020B0604020202020204" pitchFamily="34" charset="0"/>
              <a:buNone/>
            </a:pP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可以将社会责任细分为经济、法律、伦理与慈善四项责任，其中除经济和法律责任是明文规定企业必须遵行外，伦理责任和慈善责任均属于企业自愿的行为，法律没有明文规定企业必须遵守和执行。</a:t>
            </a:r>
            <a:endPar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4" name="TextBox 59"/>
          <p:cNvSpPr>
            <a:spLocks noChangeArrowheads="1"/>
          </p:cNvSpPr>
          <p:nvPr/>
        </p:nvSpPr>
        <p:spPr bwMode="auto">
          <a:xfrm flipH="1">
            <a:off x="6179343" y="3363134"/>
            <a:ext cx="2964657" cy="297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p>
            <a:pPr eaLnBrk="0" hangingPunct="0">
              <a:spcBef>
                <a:spcPct val="0"/>
              </a:spcBef>
              <a:buFont typeface="Arial" panose="020B0604020202020204" pitchFamily="34" charset="0"/>
              <a:buNone/>
            </a:pPr>
            <a:r>
              <a:rPr lang="zh-CN" altLang="en-US" sz="1500"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必须</a:t>
            </a:r>
            <a:r>
              <a:rPr lang="zh-CN" altLang="en-US" sz="1500" dirty="0">
                <a:solidFill>
                  <a:srgbClr val="03A9F3"/>
                </a:solidFill>
                <a:latin typeface="Arial" panose="020B0604020202020204" pitchFamily="34" charset="0"/>
                <a:ea typeface="微软雅黑" panose="020B0503020204020204" pitchFamily="34" charset="-122"/>
                <a:sym typeface="Arial" panose="020B0604020202020204" pitchFamily="34" charset="0"/>
              </a:rPr>
              <a:t>经常检查才不会偏失</a:t>
            </a:r>
            <a:endParaRPr lang="en-US" altLang="zh-CN" sz="15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矩形 17"/>
          <p:cNvSpPr>
            <a:spLocks noChangeArrowheads="1"/>
          </p:cNvSpPr>
          <p:nvPr/>
        </p:nvSpPr>
        <p:spPr bwMode="auto">
          <a:xfrm>
            <a:off x="6179343" y="3652455"/>
            <a:ext cx="2500083"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14000"/>
              </a:lnSpc>
              <a:spcBef>
                <a:spcPct val="0"/>
              </a:spcBef>
              <a:buFont typeface="Arial" panose="020B0604020202020204" pitchFamily="34" charset="0"/>
              <a:buNone/>
            </a:pP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即使是原本经营管理良好的企业，也应该经常检查管理过程中的细节，以发觉出其中的非伦理行为，并力求改进。</a:t>
            </a:r>
            <a:endPar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TextBox 59"/>
          <p:cNvSpPr>
            <a:spLocks noChangeArrowheads="1"/>
          </p:cNvSpPr>
          <p:nvPr/>
        </p:nvSpPr>
        <p:spPr bwMode="auto">
          <a:xfrm flipH="1">
            <a:off x="365125" y="3340512"/>
            <a:ext cx="2319735" cy="297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a:lnSpc>
                <a:spcPct val="100000"/>
              </a:lnSpc>
              <a:spcBef>
                <a:spcPct val="0"/>
              </a:spcBef>
              <a:buFont typeface="Arial" panose="020B0604020202020204" pitchFamily="34" charset="0"/>
              <a:buNone/>
            </a:pPr>
            <a:r>
              <a:rPr lang="zh-CN" altLang="en-US" sz="1500" dirty="0">
                <a:solidFill>
                  <a:srgbClr val="03A9F3"/>
                </a:solidFill>
                <a:latin typeface="Arial" panose="020B0604020202020204" pitchFamily="34" charset="0"/>
                <a:ea typeface="微软雅黑" panose="020B0503020204020204" pitchFamily="34" charset="-122"/>
                <a:sym typeface="Arial" panose="020B0604020202020204" pitchFamily="34" charset="0"/>
              </a:rPr>
              <a:t>商业伦理具有实践的特性</a:t>
            </a:r>
            <a:endParaRPr lang="en-US" altLang="zh-CN" sz="15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17"/>
          <p:cNvSpPr>
            <a:spLocks noChangeArrowheads="1"/>
          </p:cNvSpPr>
          <p:nvPr/>
        </p:nvSpPr>
        <p:spPr bwMode="auto">
          <a:xfrm>
            <a:off x="280220" y="3629835"/>
            <a:ext cx="2129606" cy="132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14000"/>
              </a:lnSpc>
              <a:spcBef>
                <a:spcPct val="0"/>
              </a:spcBef>
              <a:buFont typeface="Arial" panose="020B0604020202020204" pitchFamily="34" charset="0"/>
              <a:buNone/>
            </a:pP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商业伦理是企业事务中含有伦理成分的一切活动，这类活动是企业具体的行为，具有实践的特性</a:t>
            </a:r>
            <a:r>
              <a:rPr lang="zh-CN" altLang="en-US"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比如</a:t>
            </a: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募款、捐献、重视员工潜能开发培训、谨守政企分开等行为</a:t>
            </a:r>
            <a:endPar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矩形 60"/>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69" name="Picture 172"/>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5"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6"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pic>
        <p:nvPicPr>
          <p:cNvPr id="51" name="图片 5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2490" y="140335"/>
            <a:ext cx="2512695" cy="364490"/>
          </a:xfrm>
          <a:prstGeom prst="homePlate">
            <a:avLst>
              <a:gd name="adj" fmla="val 34324"/>
            </a:avLst>
          </a:prstGeom>
        </p:spPr>
      </p:pic>
      <p:pic>
        <p:nvPicPr>
          <p:cNvPr id="55" name="图片 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31257" y="140638"/>
            <a:ext cx="254645" cy="364572"/>
          </a:xfrm>
          <a:prstGeom prst="chevron">
            <a:avLst/>
          </a:prstGeom>
        </p:spPr>
      </p:pic>
      <p:sp>
        <p:nvSpPr>
          <p:cNvPr id="3" name="标题 2"/>
          <p:cNvSpPr>
            <a:spLocks noGrp="1"/>
          </p:cNvSpPr>
          <p:nvPr>
            <p:ph type="title"/>
          </p:nvPr>
        </p:nvSpPr>
        <p:spPr>
          <a:xfrm>
            <a:off x="872490" y="139700"/>
            <a:ext cx="2640330" cy="365125"/>
          </a:xfrm>
        </p:spPr>
        <p:txBody>
          <a:bodyPr>
            <a:noAutofit/>
          </a:bodyPr>
          <a:p>
            <a:r>
              <a:rPr lang="zh-CN" altLang="en-US" sz="18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商业伦理</a:t>
            </a:r>
            <a:r>
              <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的本质特征</a:t>
            </a:r>
            <a:endPar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 name="think-cell Slide" r:id="rId2" imgW="5715" imgH="5715" progId="">
                  <p:embed/>
                </p:oleObj>
              </mc:Choice>
              <mc:Fallback>
                <p:oleObj name="think-cell Slide" r:id="rId2" imgW="5715" imgH="5715" progId="">
                  <p:embed/>
                  <p:pic>
                    <p:nvPicPr>
                      <p:cNvPr id="0" name="图片 4096"/>
                      <p:cNvPicPr>
                        <a:picLocks noChangeAspect="1"/>
                      </p:cNvPicPr>
                      <p:nvPr/>
                    </p:nvPicPr>
                    <p:blipFill>
                      <a:blip r:embed="rId3"/>
                      <a:stretch>
                        <a:fillRect/>
                      </a:stretch>
                    </p:blipFill>
                    <p:spPr>
                      <a:xfrm>
                        <a:off x="1588" y="1588"/>
                        <a:ext cx="1587" cy="1587"/>
                      </a:xfrm>
                      <a:prstGeom prst="rect">
                        <a:avLst/>
                      </a:prstGeom>
                      <a:noFill/>
                      <a:ln w="9525">
                        <a:noFill/>
                      </a:ln>
                    </p:spPr>
                  </p:pic>
                </p:oleObj>
              </mc:Fallback>
            </mc:AlternateContent>
          </a:graphicData>
        </a:graphic>
      </p:graphicFrame>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空心弧 27"/>
          <p:cNvSpPr/>
          <p:nvPr/>
        </p:nvSpPr>
        <p:spPr>
          <a:xfrm>
            <a:off x="2384053" y="2826451"/>
            <a:ext cx="4239295" cy="4239295"/>
          </a:xfrm>
          <a:prstGeom prst="blockArc">
            <a:avLst>
              <a:gd name="adj1" fmla="val 10800000"/>
              <a:gd name="adj2" fmla="val 1"/>
              <a:gd name="adj3" fmla="val 3011"/>
            </a:avLst>
          </a:prstGeom>
          <a:solidFill>
            <a:srgbClr val="EBEBEB"/>
          </a:solidFill>
          <a:ln>
            <a:noFill/>
          </a:ln>
          <a:effectLst>
            <a:innerShdw blurRad="762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29" name="椭圆 34"/>
          <p:cNvSpPr/>
          <p:nvPr/>
        </p:nvSpPr>
        <p:spPr>
          <a:xfrm rot="10190714">
            <a:off x="3599881" y="1858425"/>
            <a:ext cx="709624" cy="912618"/>
          </a:xfrm>
          <a:custGeom>
            <a:avLst/>
            <a:gdLst/>
            <a:ahLst/>
            <a:cxnLst/>
            <a:rect l="l" t="t" r="r" b="b"/>
            <a:pathLst>
              <a:path w="1118836" h="1438889">
                <a:moveTo>
                  <a:pt x="548270" y="0"/>
                </a:moveTo>
                <a:lnTo>
                  <a:pt x="721662" y="346785"/>
                </a:lnTo>
                <a:cubicBezTo>
                  <a:pt x="951885" y="413972"/>
                  <a:pt x="1118836" y="627225"/>
                  <a:pt x="1118836" y="879471"/>
                </a:cubicBezTo>
                <a:cubicBezTo>
                  <a:pt x="1118836" y="1188429"/>
                  <a:pt x="868376" y="1438889"/>
                  <a:pt x="559418" y="1438889"/>
                </a:cubicBezTo>
                <a:cubicBezTo>
                  <a:pt x="250460" y="1438889"/>
                  <a:pt x="0" y="1188429"/>
                  <a:pt x="0" y="879471"/>
                </a:cubicBezTo>
                <a:cubicBezTo>
                  <a:pt x="0" y="636984"/>
                  <a:pt x="154283" y="430531"/>
                  <a:pt x="370781" y="354978"/>
                </a:cubicBezTo>
                <a:close/>
              </a:path>
            </a:pathLst>
          </a:custGeom>
          <a:solidFill>
            <a:srgbClr val="0067B0"/>
          </a:solidFill>
          <a:ln>
            <a:noFill/>
          </a:ln>
          <a:effectLst>
            <a:outerShdw blurRad="444500" dist="2540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nvGrpSpPr>
          <p:cNvPr id="30" name="组合 29"/>
          <p:cNvGrpSpPr/>
          <p:nvPr/>
        </p:nvGrpSpPr>
        <p:grpSpPr>
          <a:xfrm rot="13303882">
            <a:off x="6648304" y="3526768"/>
            <a:ext cx="759550" cy="986833"/>
            <a:chOff x="4020870" y="2194485"/>
            <a:chExt cx="1102258" cy="1432090"/>
          </a:xfrm>
          <a:effectLst>
            <a:outerShdw blurRad="444500" dist="254000" dir="8100000" algn="tr" rotWithShape="0">
              <a:prstClr val="black">
                <a:alpha val="50000"/>
              </a:prstClr>
            </a:outerShdw>
          </a:effectLst>
        </p:grpSpPr>
        <p:sp>
          <p:nvSpPr>
            <p:cNvPr id="31" name="等腰三角形 43"/>
            <p:cNvSpPr/>
            <p:nvPr/>
          </p:nvSpPr>
          <p:spPr>
            <a:xfrm>
              <a:off x="4020870" y="2194485"/>
              <a:ext cx="1102258" cy="1432090"/>
            </a:xfrm>
            <a:custGeom>
              <a:avLst/>
              <a:gdLst/>
              <a:ahLst/>
              <a:cxnLst/>
              <a:rect l="l" t="t" r="r" b="b"/>
              <a:pathLst>
                <a:path w="1102258" h="1432090">
                  <a:moveTo>
                    <a:pt x="761620" y="431870"/>
                  </a:moveTo>
                  <a:lnTo>
                    <a:pt x="856659" y="621949"/>
                  </a:lnTo>
                  <a:lnTo>
                    <a:pt x="234710" y="621949"/>
                  </a:lnTo>
                  <a:lnTo>
                    <a:pt x="325695" y="439980"/>
                  </a:lnTo>
                  <a:cubicBezTo>
                    <a:pt x="163858" y="520416"/>
                    <a:pt x="53779" y="687834"/>
                    <a:pt x="53779" y="880961"/>
                  </a:cubicBezTo>
                  <a:cubicBezTo>
                    <a:pt x="53779" y="1155639"/>
                    <a:pt x="276450" y="1378310"/>
                    <a:pt x="551128" y="1378310"/>
                  </a:cubicBezTo>
                  <a:cubicBezTo>
                    <a:pt x="825806" y="1378310"/>
                    <a:pt x="1048477" y="1155639"/>
                    <a:pt x="1048477" y="880961"/>
                  </a:cubicBezTo>
                  <a:cubicBezTo>
                    <a:pt x="1048477" y="681767"/>
                    <a:pt x="931374" y="509923"/>
                    <a:pt x="761620" y="431870"/>
                  </a:cubicBezTo>
                  <a:close/>
                  <a:moveTo>
                    <a:pt x="545685" y="0"/>
                  </a:moveTo>
                  <a:lnTo>
                    <a:pt x="726120" y="360871"/>
                  </a:lnTo>
                  <a:cubicBezTo>
                    <a:pt x="945108" y="431845"/>
                    <a:pt x="1102258" y="638051"/>
                    <a:pt x="1102258" y="880961"/>
                  </a:cubicBezTo>
                  <a:cubicBezTo>
                    <a:pt x="1102258" y="1185341"/>
                    <a:pt x="855509" y="1432090"/>
                    <a:pt x="551129" y="1432090"/>
                  </a:cubicBezTo>
                  <a:cubicBezTo>
                    <a:pt x="246749" y="1432090"/>
                    <a:pt x="0" y="1185341"/>
                    <a:pt x="0" y="880961"/>
                  </a:cubicBezTo>
                  <a:cubicBezTo>
                    <a:pt x="0" y="642821"/>
                    <a:pt x="151038" y="439958"/>
                    <a:pt x="363249" y="364872"/>
                  </a:cubicBezTo>
                  <a:close/>
                </a:path>
              </a:pathLst>
            </a:custGeom>
            <a:gradFill>
              <a:gsLst>
                <a:gs pos="0">
                  <a:schemeClr val="bg1"/>
                </a:gs>
                <a:gs pos="55000">
                  <a:schemeClr val="bg1">
                    <a:lumMod val="95000"/>
                  </a:schemeClr>
                </a:gs>
                <a:gs pos="100000">
                  <a:schemeClr val="bg1">
                    <a:lumMod val="65000"/>
                  </a:schemeClr>
                </a:gs>
              </a:gsLst>
              <a:lin ang="14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36" name="等腰三角形 42"/>
            <p:cNvSpPr/>
            <p:nvPr/>
          </p:nvSpPr>
          <p:spPr>
            <a:xfrm>
              <a:off x="4044928" y="2251925"/>
              <a:ext cx="1054142" cy="1350592"/>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gradFill>
              <a:gsLst>
                <a:gs pos="0">
                  <a:schemeClr val="bg1"/>
                </a:gs>
                <a:gs pos="43000">
                  <a:schemeClr val="bg1">
                    <a:lumMod val="95000"/>
                  </a:schemeClr>
                </a:gs>
                <a:gs pos="100000">
                  <a:schemeClr val="bg1">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7" name="组合 36"/>
          <p:cNvGrpSpPr/>
          <p:nvPr/>
        </p:nvGrpSpPr>
        <p:grpSpPr>
          <a:xfrm rot="11594412">
            <a:off x="5083766" y="1948428"/>
            <a:ext cx="759550" cy="986833"/>
            <a:chOff x="4020870" y="2194485"/>
            <a:chExt cx="1102258" cy="1432090"/>
          </a:xfrm>
          <a:effectLst>
            <a:outerShdw blurRad="444500" dist="254000" dir="8100000" algn="tr" rotWithShape="0">
              <a:prstClr val="black">
                <a:alpha val="50000"/>
              </a:prstClr>
            </a:outerShdw>
          </a:effectLst>
        </p:grpSpPr>
        <p:sp>
          <p:nvSpPr>
            <p:cNvPr id="38" name="等腰三角形 43"/>
            <p:cNvSpPr/>
            <p:nvPr/>
          </p:nvSpPr>
          <p:spPr>
            <a:xfrm>
              <a:off x="4020870" y="2194485"/>
              <a:ext cx="1102258" cy="1432090"/>
            </a:xfrm>
            <a:custGeom>
              <a:avLst/>
              <a:gdLst/>
              <a:ahLst/>
              <a:cxnLst/>
              <a:rect l="l" t="t" r="r" b="b"/>
              <a:pathLst>
                <a:path w="1102258" h="1432090">
                  <a:moveTo>
                    <a:pt x="761620" y="431870"/>
                  </a:moveTo>
                  <a:lnTo>
                    <a:pt x="856659" y="621949"/>
                  </a:lnTo>
                  <a:lnTo>
                    <a:pt x="234710" y="621949"/>
                  </a:lnTo>
                  <a:lnTo>
                    <a:pt x="325695" y="439980"/>
                  </a:lnTo>
                  <a:cubicBezTo>
                    <a:pt x="163858" y="520416"/>
                    <a:pt x="53779" y="687834"/>
                    <a:pt x="53779" y="880961"/>
                  </a:cubicBezTo>
                  <a:cubicBezTo>
                    <a:pt x="53779" y="1155639"/>
                    <a:pt x="276450" y="1378310"/>
                    <a:pt x="551128" y="1378310"/>
                  </a:cubicBezTo>
                  <a:cubicBezTo>
                    <a:pt x="825806" y="1378310"/>
                    <a:pt x="1048477" y="1155639"/>
                    <a:pt x="1048477" y="880961"/>
                  </a:cubicBezTo>
                  <a:cubicBezTo>
                    <a:pt x="1048477" y="681767"/>
                    <a:pt x="931374" y="509923"/>
                    <a:pt x="761620" y="431870"/>
                  </a:cubicBezTo>
                  <a:close/>
                  <a:moveTo>
                    <a:pt x="545685" y="0"/>
                  </a:moveTo>
                  <a:lnTo>
                    <a:pt x="726120" y="360871"/>
                  </a:lnTo>
                  <a:cubicBezTo>
                    <a:pt x="945108" y="431845"/>
                    <a:pt x="1102258" y="638051"/>
                    <a:pt x="1102258" y="880961"/>
                  </a:cubicBezTo>
                  <a:cubicBezTo>
                    <a:pt x="1102258" y="1185341"/>
                    <a:pt x="855509" y="1432090"/>
                    <a:pt x="551129" y="1432090"/>
                  </a:cubicBezTo>
                  <a:cubicBezTo>
                    <a:pt x="246749" y="1432090"/>
                    <a:pt x="0" y="1185341"/>
                    <a:pt x="0" y="880961"/>
                  </a:cubicBezTo>
                  <a:cubicBezTo>
                    <a:pt x="0" y="642821"/>
                    <a:pt x="151038" y="439958"/>
                    <a:pt x="363249" y="364872"/>
                  </a:cubicBezTo>
                  <a:close/>
                </a:path>
              </a:pathLst>
            </a:custGeom>
            <a:gradFill>
              <a:gsLst>
                <a:gs pos="0">
                  <a:schemeClr val="bg1"/>
                </a:gs>
                <a:gs pos="55000">
                  <a:schemeClr val="bg1">
                    <a:lumMod val="95000"/>
                  </a:schemeClr>
                </a:gs>
                <a:gs pos="100000">
                  <a:schemeClr val="bg1">
                    <a:lumMod val="65000"/>
                  </a:schemeClr>
                </a:gs>
              </a:gsLst>
              <a:lin ang="14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等腰三角形 42"/>
            <p:cNvSpPr/>
            <p:nvPr/>
          </p:nvSpPr>
          <p:spPr>
            <a:xfrm>
              <a:off x="4044928" y="2251925"/>
              <a:ext cx="1054142" cy="1350592"/>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gradFill>
              <a:gsLst>
                <a:gs pos="0">
                  <a:schemeClr val="bg1"/>
                </a:gs>
                <a:gs pos="43000">
                  <a:schemeClr val="bg1">
                    <a:lumMod val="95000"/>
                  </a:schemeClr>
                </a:gs>
                <a:gs pos="100000">
                  <a:schemeClr val="bg1">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42" name="椭圆 34"/>
          <p:cNvSpPr/>
          <p:nvPr/>
        </p:nvSpPr>
        <p:spPr>
          <a:xfrm rot="13009338">
            <a:off x="6174512" y="2591287"/>
            <a:ext cx="709624" cy="912618"/>
          </a:xfrm>
          <a:custGeom>
            <a:avLst/>
            <a:gdLst/>
            <a:ahLst/>
            <a:cxnLst/>
            <a:rect l="l" t="t" r="r" b="b"/>
            <a:pathLst>
              <a:path w="1118836" h="1438889">
                <a:moveTo>
                  <a:pt x="548270" y="0"/>
                </a:moveTo>
                <a:lnTo>
                  <a:pt x="721662" y="346785"/>
                </a:lnTo>
                <a:cubicBezTo>
                  <a:pt x="951885" y="413972"/>
                  <a:pt x="1118836" y="627225"/>
                  <a:pt x="1118836" y="879471"/>
                </a:cubicBezTo>
                <a:cubicBezTo>
                  <a:pt x="1118836" y="1188429"/>
                  <a:pt x="868376" y="1438889"/>
                  <a:pt x="559418" y="1438889"/>
                </a:cubicBezTo>
                <a:cubicBezTo>
                  <a:pt x="250460" y="1438889"/>
                  <a:pt x="0" y="1188429"/>
                  <a:pt x="0" y="879471"/>
                </a:cubicBezTo>
                <a:cubicBezTo>
                  <a:pt x="0" y="636984"/>
                  <a:pt x="154283" y="430531"/>
                  <a:pt x="370781" y="354978"/>
                </a:cubicBezTo>
                <a:close/>
              </a:path>
            </a:pathLst>
          </a:custGeom>
          <a:solidFill>
            <a:srgbClr val="0067B0"/>
          </a:solidFill>
          <a:ln>
            <a:noFill/>
          </a:ln>
          <a:effectLst>
            <a:outerShdw blurRad="444500" dist="2540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nvGrpSpPr>
          <p:cNvPr id="43" name="组合 42"/>
          <p:cNvGrpSpPr/>
          <p:nvPr/>
        </p:nvGrpSpPr>
        <p:grpSpPr>
          <a:xfrm rot="9469324">
            <a:off x="2419325" y="2359982"/>
            <a:ext cx="759550" cy="986833"/>
            <a:chOff x="4020870" y="2194485"/>
            <a:chExt cx="1102258" cy="1432090"/>
          </a:xfrm>
          <a:effectLst>
            <a:outerShdw blurRad="444500" dist="254000" dir="8100000" algn="tr" rotWithShape="0">
              <a:prstClr val="black">
                <a:alpha val="50000"/>
              </a:prstClr>
            </a:outerShdw>
          </a:effectLst>
        </p:grpSpPr>
        <p:sp>
          <p:nvSpPr>
            <p:cNvPr id="44" name="等腰三角形 43"/>
            <p:cNvSpPr/>
            <p:nvPr/>
          </p:nvSpPr>
          <p:spPr>
            <a:xfrm>
              <a:off x="4020870" y="2194485"/>
              <a:ext cx="1102258" cy="1432090"/>
            </a:xfrm>
            <a:custGeom>
              <a:avLst/>
              <a:gdLst/>
              <a:ahLst/>
              <a:cxnLst/>
              <a:rect l="l" t="t" r="r" b="b"/>
              <a:pathLst>
                <a:path w="1102258" h="1432090">
                  <a:moveTo>
                    <a:pt x="761620" y="431870"/>
                  </a:moveTo>
                  <a:lnTo>
                    <a:pt x="856659" y="621949"/>
                  </a:lnTo>
                  <a:lnTo>
                    <a:pt x="234710" y="621949"/>
                  </a:lnTo>
                  <a:lnTo>
                    <a:pt x="325695" y="439980"/>
                  </a:lnTo>
                  <a:cubicBezTo>
                    <a:pt x="163858" y="520416"/>
                    <a:pt x="53779" y="687834"/>
                    <a:pt x="53779" y="880961"/>
                  </a:cubicBezTo>
                  <a:cubicBezTo>
                    <a:pt x="53779" y="1155639"/>
                    <a:pt x="276450" y="1378310"/>
                    <a:pt x="551128" y="1378310"/>
                  </a:cubicBezTo>
                  <a:cubicBezTo>
                    <a:pt x="825806" y="1378310"/>
                    <a:pt x="1048477" y="1155639"/>
                    <a:pt x="1048477" y="880961"/>
                  </a:cubicBezTo>
                  <a:cubicBezTo>
                    <a:pt x="1048477" y="681767"/>
                    <a:pt x="931374" y="509923"/>
                    <a:pt x="761620" y="431870"/>
                  </a:cubicBezTo>
                  <a:close/>
                  <a:moveTo>
                    <a:pt x="545685" y="0"/>
                  </a:moveTo>
                  <a:lnTo>
                    <a:pt x="726120" y="360871"/>
                  </a:lnTo>
                  <a:cubicBezTo>
                    <a:pt x="945108" y="431845"/>
                    <a:pt x="1102258" y="638051"/>
                    <a:pt x="1102258" y="880961"/>
                  </a:cubicBezTo>
                  <a:cubicBezTo>
                    <a:pt x="1102258" y="1185341"/>
                    <a:pt x="855509" y="1432090"/>
                    <a:pt x="551129" y="1432090"/>
                  </a:cubicBezTo>
                  <a:cubicBezTo>
                    <a:pt x="246749" y="1432090"/>
                    <a:pt x="0" y="1185341"/>
                    <a:pt x="0" y="880961"/>
                  </a:cubicBezTo>
                  <a:cubicBezTo>
                    <a:pt x="0" y="642821"/>
                    <a:pt x="151038" y="439958"/>
                    <a:pt x="363249" y="364872"/>
                  </a:cubicBezTo>
                  <a:close/>
                </a:path>
              </a:pathLst>
            </a:custGeom>
            <a:gradFill>
              <a:gsLst>
                <a:gs pos="0">
                  <a:schemeClr val="bg1"/>
                </a:gs>
                <a:gs pos="55000">
                  <a:schemeClr val="bg1">
                    <a:lumMod val="95000"/>
                  </a:schemeClr>
                </a:gs>
                <a:gs pos="100000">
                  <a:schemeClr val="bg1">
                    <a:lumMod val="65000"/>
                  </a:schemeClr>
                </a:gs>
              </a:gsLst>
              <a:lin ang="14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46" name="等腰三角形 42"/>
            <p:cNvSpPr/>
            <p:nvPr/>
          </p:nvSpPr>
          <p:spPr>
            <a:xfrm>
              <a:off x="4044928" y="2251925"/>
              <a:ext cx="1054142" cy="1350592"/>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gradFill>
              <a:gsLst>
                <a:gs pos="0">
                  <a:schemeClr val="bg1"/>
                </a:gs>
                <a:gs pos="43000">
                  <a:schemeClr val="bg1">
                    <a:lumMod val="95000"/>
                  </a:schemeClr>
                </a:gs>
                <a:gs pos="100000">
                  <a:schemeClr val="bg1">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49" name="椭圆 34"/>
          <p:cNvSpPr/>
          <p:nvPr/>
        </p:nvSpPr>
        <p:spPr>
          <a:xfrm rot="8068240">
            <a:off x="1670786" y="3527312"/>
            <a:ext cx="709624" cy="912618"/>
          </a:xfrm>
          <a:custGeom>
            <a:avLst/>
            <a:gdLst/>
            <a:ahLst/>
            <a:cxnLst/>
            <a:rect l="l" t="t" r="r" b="b"/>
            <a:pathLst>
              <a:path w="1118836" h="1438889">
                <a:moveTo>
                  <a:pt x="548270" y="0"/>
                </a:moveTo>
                <a:lnTo>
                  <a:pt x="721662" y="346785"/>
                </a:lnTo>
                <a:cubicBezTo>
                  <a:pt x="951885" y="413972"/>
                  <a:pt x="1118836" y="627225"/>
                  <a:pt x="1118836" y="879471"/>
                </a:cubicBezTo>
                <a:cubicBezTo>
                  <a:pt x="1118836" y="1188429"/>
                  <a:pt x="868376" y="1438889"/>
                  <a:pt x="559418" y="1438889"/>
                </a:cubicBezTo>
                <a:cubicBezTo>
                  <a:pt x="250460" y="1438889"/>
                  <a:pt x="0" y="1188429"/>
                  <a:pt x="0" y="879471"/>
                </a:cubicBezTo>
                <a:cubicBezTo>
                  <a:pt x="0" y="636984"/>
                  <a:pt x="154283" y="430531"/>
                  <a:pt x="370781" y="354978"/>
                </a:cubicBezTo>
                <a:close/>
              </a:path>
            </a:pathLst>
          </a:custGeom>
          <a:solidFill>
            <a:srgbClr val="0067B0"/>
          </a:solidFill>
          <a:ln>
            <a:noFill/>
          </a:ln>
          <a:effectLst>
            <a:outerShdw blurRad="444500" dist="2540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nvGrpSpPr>
          <p:cNvPr id="50" name="组合 49"/>
          <p:cNvGrpSpPr/>
          <p:nvPr/>
        </p:nvGrpSpPr>
        <p:grpSpPr>
          <a:xfrm>
            <a:off x="3657545" y="3232969"/>
            <a:ext cx="1612681" cy="1612685"/>
            <a:chOff x="3851771" y="1163107"/>
            <a:chExt cx="1402358" cy="1402358"/>
          </a:xfrm>
        </p:grpSpPr>
        <p:grpSp>
          <p:nvGrpSpPr>
            <p:cNvPr id="51" name="组合 50"/>
            <p:cNvGrpSpPr/>
            <p:nvPr/>
          </p:nvGrpSpPr>
          <p:grpSpPr>
            <a:xfrm>
              <a:off x="3851771" y="1163107"/>
              <a:ext cx="1402358" cy="1402358"/>
              <a:chOff x="304800" y="673100"/>
              <a:chExt cx="4000500" cy="4000500"/>
            </a:xfrm>
            <a:effectLst>
              <a:outerShdw blurRad="444500" dist="254000" dir="8100000" algn="tr" rotWithShape="0">
                <a:prstClr val="black">
                  <a:alpha val="50000"/>
                </a:prstClr>
              </a:outerShdw>
            </a:effectLst>
          </p:grpSpPr>
          <p:sp>
            <p:nvSpPr>
              <p:cNvPr id="53" name="同心圆 52"/>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54" name="椭圆 53"/>
              <p:cNvSpPr/>
              <p:nvPr/>
            </p:nvSpPr>
            <p:spPr>
              <a:xfrm>
                <a:off x="392108" y="760412"/>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52" name="TextBox 51"/>
            <p:cNvSpPr txBox="1"/>
            <p:nvPr/>
          </p:nvSpPr>
          <p:spPr>
            <a:xfrm>
              <a:off x="4030123" y="1333410"/>
              <a:ext cx="1186820" cy="1043782"/>
            </a:xfrm>
            <a:prstGeom prst="rect">
              <a:avLst/>
            </a:prstGeom>
            <a:noFill/>
          </p:spPr>
          <p:txBody>
            <a:bodyPr wrap="square" rtlCol="0">
              <a:spAutoFit/>
            </a:bodyPr>
            <a:lstStyle/>
            <a:p>
              <a:r>
                <a:rPr lang="zh-CN" altLang="en-US" sz="3600" spc="300"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基本内容</a:t>
              </a:r>
              <a:endParaRPr lang="zh-CN" altLang="en-US" sz="3600" spc="3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5" name="TextBox 54"/>
          <p:cNvSpPr txBox="1"/>
          <p:nvPr/>
        </p:nvSpPr>
        <p:spPr>
          <a:xfrm>
            <a:off x="1857385" y="3867150"/>
            <a:ext cx="45719" cy="368300"/>
          </a:xfrm>
          <a:prstGeom prst="rect">
            <a:avLst/>
          </a:prstGeom>
          <a:noFill/>
        </p:spPr>
        <p:txBody>
          <a:bodyPr wrap="square" rtlCol="0">
            <a:spAutoFit/>
          </a:bodyPr>
          <a:lstStyle/>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sp>
        <p:nvSpPr>
          <p:cNvPr id="56" name="TextBox 55"/>
          <p:cNvSpPr txBox="1"/>
          <p:nvPr/>
        </p:nvSpPr>
        <p:spPr>
          <a:xfrm>
            <a:off x="2577391" y="2456750"/>
            <a:ext cx="408940" cy="583565"/>
          </a:xfrm>
          <a:prstGeom prst="rect">
            <a:avLst/>
          </a:prstGeom>
          <a:noFill/>
        </p:spPr>
        <p:txBody>
          <a:bodyPr wrap="none" rtlCol="0">
            <a:spAutoFit/>
          </a:bodyPr>
          <a:lstStyle/>
          <a:p>
            <a:r>
              <a:rPr lang="en-US" altLang="zh-CN" sz="3200" dirty="0">
                <a:solidFill>
                  <a:srgbClr val="03A9F3"/>
                </a:solidFill>
                <a:latin typeface="Arial" panose="020B0604020202020204" pitchFamily="34" charset="0"/>
                <a:ea typeface="微软雅黑" panose="020B0503020204020204" pitchFamily="34" charset="-122"/>
                <a:sym typeface="Arial" panose="020B0604020202020204" pitchFamily="34" charset="0"/>
              </a:rPr>
              <a:t>2</a:t>
            </a:r>
            <a:endParaRPr lang="zh-CN" altLang="en-US" sz="32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57" name="TextBox 56"/>
          <p:cNvSpPr txBox="1"/>
          <p:nvPr/>
        </p:nvSpPr>
        <p:spPr>
          <a:xfrm>
            <a:off x="5232126" y="2050921"/>
            <a:ext cx="408940" cy="583565"/>
          </a:xfrm>
          <a:prstGeom prst="rect">
            <a:avLst/>
          </a:prstGeom>
          <a:noFill/>
        </p:spPr>
        <p:txBody>
          <a:bodyPr wrap="none" rtlCol="0">
            <a:spAutoFit/>
          </a:bodyPr>
          <a:lstStyle/>
          <a:p>
            <a:r>
              <a:rPr lang="en-US" altLang="zh-CN" sz="3200" dirty="0">
                <a:solidFill>
                  <a:srgbClr val="03A9F3"/>
                </a:solidFill>
                <a:latin typeface="Arial" panose="020B0604020202020204" pitchFamily="34" charset="0"/>
                <a:ea typeface="微软雅黑" panose="020B0503020204020204" pitchFamily="34" charset="-122"/>
                <a:sym typeface="Arial" panose="020B0604020202020204" pitchFamily="34" charset="0"/>
              </a:rPr>
              <a:t>4</a:t>
            </a:r>
            <a:endParaRPr lang="zh-CN" altLang="en-US" sz="32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TextBox 57"/>
          <p:cNvSpPr txBox="1"/>
          <p:nvPr/>
        </p:nvSpPr>
        <p:spPr>
          <a:xfrm>
            <a:off x="6869466" y="3625522"/>
            <a:ext cx="408940" cy="583565"/>
          </a:xfrm>
          <a:prstGeom prst="rect">
            <a:avLst/>
          </a:prstGeom>
          <a:noFill/>
        </p:spPr>
        <p:txBody>
          <a:bodyPr wrap="none" rtlCol="0">
            <a:spAutoFit/>
          </a:bodyPr>
          <a:lstStyle/>
          <a:p>
            <a:r>
              <a:rPr lang="en-US" altLang="zh-CN" sz="3200" dirty="0">
                <a:solidFill>
                  <a:srgbClr val="03A9F3"/>
                </a:solidFill>
                <a:latin typeface="Arial" panose="020B0604020202020204" pitchFamily="34" charset="0"/>
                <a:ea typeface="微软雅黑" panose="020B0503020204020204" pitchFamily="34" charset="-122"/>
                <a:sym typeface="Arial" panose="020B0604020202020204" pitchFamily="34" charset="0"/>
              </a:rPr>
              <a:t>6</a:t>
            </a:r>
            <a:endParaRPr lang="zh-CN" altLang="en-US" sz="32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59" name="TextBox 58"/>
          <p:cNvSpPr txBox="1"/>
          <p:nvPr/>
        </p:nvSpPr>
        <p:spPr>
          <a:xfrm>
            <a:off x="6395561" y="2650308"/>
            <a:ext cx="408940" cy="583565"/>
          </a:xfrm>
          <a:prstGeom prst="rect">
            <a:avLst/>
          </a:prstGeom>
          <a:noFill/>
        </p:spPr>
        <p:txBody>
          <a:bodyPr wrap="none" rtlCol="0">
            <a:spAutoFit/>
          </a:bodyPr>
          <a:lstStyle/>
          <a:p>
            <a:r>
              <a:rPr lang="en-US" altLang="zh-CN" sz="3200" dirty="0">
                <a:solidFill>
                  <a:schemeClr val="bg1"/>
                </a:solidFill>
                <a:latin typeface="Arial" panose="020B0604020202020204" pitchFamily="34" charset="0"/>
                <a:ea typeface="微软雅黑" panose="020B0503020204020204" pitchFamily="34" charset="-122"/>
                <a:sym typeface="Arial" panose="020B0604020202020204" pitchFamily="34" charset="0"/>
              </a:rPr>
              <a:t>5</a:t>
            </a:r>
            <a:endParaRPr lang="zh-CN" altLang="en-US" sz="3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0" name="TextBox 59"/>
          <p:cNvSpPr txBox="1"/>
          <p:nvPr/>
        </p:nvSpPr>
        <p:spPr>
          <a:xfrm>
            <a:off x="3726906" y="1896854"/>
            <a:ext cx="408940" cy="583565"/>
          </a:xfrm>
          <a:prstGeom prst="rect">
            <a:avLst/>
          </a:prstGeom>
          <a:noFill/>
        </p:spPr>
        <p:txBody>
          <a:bodyPr wrap="none" rtlCol="0">
            <a:spAutoFit/>
          </a:bodyPr>
          <a:lstStyle/>
          <a:p>
            <a:r>
              <a:rPr lang="en-US" altLang="zh-CN" sz="3200" dirty="0">
                <a:solidFill>
                  <a:schemeClr val="bg1"/>
                </a:solidFill>
                <a:latin typeface="Arial" panose="020B0604020202020204" pitchFamily="34" charset="0"/>
                <a:ea typeface="微软雅黑" panose="020B0503020204020204" pitchFamily="34" charset="-122"/>
                <a:sym typeface="Arial" panose="020B0604020202020204" pitchFamily="34" charset="0"/>
              </a:rPr>
              <a:t>3</a:t>
            </a:r>
            <a:endParaRPr lang="zh-CN" altLang="en-US" sz="3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TextBox 60"/>
          <p:cNvSpPr txBox="1"/>
          <p:nvPr/>
        </p:nvSpPr>
        <p:spPr>
          <a:xfrm>
            <a:off x="1675317" y="3624543"/>
            <a:ext cx="408940" cy="583565"/>
          </a:xfrm>
          <a:prstGeom prst="rect">
            <a:avLst/>
          </a:prstGeom>
          <a:noFill/>
        </p:spPr>
        <p:txBody>
          <a:bodyPr wrap="none" rtlCol="0">
            <a:spAutoFit/>
          </a:bodyPr>
          <a:lstStyle/>
          <a:p>
            <a:r>
              <a:rPr lang="en-US" altLang="zh-CN" sz="3200" dirty="0">
                <a:solidFill>
                  <a:schemeClr val="bg1"/>
                </a:solidFill>
                <a:latin typeface="Arial" panose="020B0604020202020204" pitchFamily="34" charset="0"/>
                <a:ea typeface="微软雅黑" panose="020B0503020204020204" pitchFamily="34" charset="-122"/>
                <a:sym typeface="Arial" panose="020B0604020202020204" pitchFamily="34" charset="0"/>
              </a:rPr>
              <a:t>1</a:t>
            </a:r>
            <a:endParaRPr lang="zh-CN" altLang="en-US" sz="3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2" name="TextBox 61"/>
          <p:cNvSpPr txBox="1"/>
          <p:nvPr/>
        </p:nvSpPr>
        <p:spPr>
          <a:xfrm>
            <a:off x="146447" y="3306909"/>
            <a:ext cx="1563458" cy="737235"/>
          </a:xfrm>
          <a:prstGeom prst="rect">
            <a:avLst/>
          </a:prstGeom>
          <a:noFill/>
        </p:spPr>
        <p:txBody>
          <a:bodyPr wrap="square" rtlCol="0">
            <a:spAutoFit/>
          </a:bodyPr>
          <a:lstStyle/>
          <a:p>
            <a:r>
              <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关于企业与出资者关系的伦理</a:t>
            </a: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规范</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3" name="TextBox 62"/>
          <p:cNvSpPr txBox="1"/>
          <p:nvPr/>
        </p:nvSpPr>
        <p:spPr>
          <a:xfrm>
            <a:off x="820595" y="1973798"/>
            <a:ext cx="1563458" cy="521970"/>
          </a:xfrm>
          <a:prstGeom prst="rect">
            <a:avLst/>
          </a:prstGeom>
          <a:noFill/>
        </p:spPr>
        <p:txBody>
          <a:bodyPr wrap="square" rtlCol="0">
            <a:spAutoFit/>
          </a:bodyPr>
          <a:lstStyle/>
          <a:p>
            <a:r>
              <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关于企业与员工关系的伦理</a:t>
            </a: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规范</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4" name="TextBox 63"/>
          <p:cNvSpPr txBox="1"/>
          <p:nvPr/>
        </p:nvSpPr>
        <p:spPr>
          <a:xfrm>
            <a:off x="3119017" y="1211798"/>
            <a:ext cx="1563458" cy="737235"/>
          </a:xfrm>
          <a:prstGeom prst="rect">
            <a:avLst/>
          </a:prstGeom>
          <a:noFill/>
        </p:spPr>
        <p:txBody>
          <a:bodyPr wrap="square" rtlCol="0">
            <a:spAutoFit/>
          </a:bodyPr>
          <a:lstStyle/>
          <a:p>
            <a:r>
              <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关于企业与消费者关系的伦理规范</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TextBox 64"/>
          <p:cNvSpPr txBox="1"/>
          <p:nvPr/>
        </p:nvSpPr>
        <p:spPr>
          <a:xfrm>
            <a:off x="5523375" y="1366731"/>
            <a:ext cx="1563458" cy="521970"/>
          </a:xfrm>
          <a:prstGeom prst="rect">
            <a:avLst/>
          </a:prstGeom>
          <a:noFill/>
        </p:spPr>
        <p:txBody>
          <a:bodyPr wrap="square" rtlCol="0">
            <a:spAutoFit/>
          </a:bodyPr>
          <a:lstStyle/>
          <a:p>
            <a:r>
              <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关于企业与企业关系的伦理规范</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6" name="TextBox 65"/>
          <p:cNvSpPr txBox="1"/>
          <p:nvPr/>
        </p:nvSpPr>
        <p:spPr>
          <a:xfrm>
            <a:off x="6885510" y="2222844"/>
            <a:ext cx="1563458" cy="521970"/>
          </a:xfrm>
          <a:prstGeom prst="rect">
            <a:avLst/>
          </a:prstGeom>
          <a:noFill/>
        </p:spPr>
        <p:txBody>
          <a:bodyPr wrap="square" rtlCol="0">
            <a:spAutoFit/>
          </a:bodyPr>
          <a:lstStyle/>
          <a:p>
            <a:r>
              <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关于企业与政府关系的伦理规范</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7" name="TextBox 66"/>
          <p:cNvSpPr txBox="1"/>
          <p:nvPr/>
        </p:nvSpPr>
        <p:spPr>
          <a:xfrm>
            <a:off x="7430966" y="3235083"/>
            <a:ext cx="1563458" cy="521970"/>
          </a:xfrm>
          <a:prstGeom prst="rect">
            <a:avLst/>
          </a:prstGeom>
          <a:noFill/>
        </p:spPr>
        <p:txBody>
          <a:bodyPr wrap="square" rtlCol="0">
            <a:spAutoFit/>
          </a:bodyPr>
          <a:lstStyle/>
          <a:p>
            <a:r>
              <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关于企业与公众关系的伦理规范</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820420" y="105410"/>
            <a:ext cx="2386965" cy="394970"/>
          </a:xfrm>
        </p:spPr>
        <p:txBody>
          <a:bodyPr>
            <a:noAutofit/>
          </a:bodyPr>
          <a:p>
            <a:r>
              <a:rPr lang="zh-CN" altLang="en-US" sz="16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商业伦理的基本内容</a:t>
            </a:r>
            <a:endParaRPr lang="zh-CN" altLang="en-US" sz="16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7"/>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圆角矩形 30"/>
          <p:cNvSpPr/>
          <p:nvPr/>
        </p:nvSpPr>
        <p:spPr>
          <a:xfrm>
            <a:off x="3129437" y="2177415"/>
            <a:ext cx="1106686" cy="353188"/>
          </a:xfrm>
          <a:prstGeom prst="roundRect">
            <a:avLst>
              <a:gd name="adj" fmla="val 12535"/>
            </a:avLst>
          </a:prstGeom>
          <a:gradFill>
            <a:gsLst>
              <a:gs pos="92000">
                <a:srgbClr val="FAFCFB"/>
              </a:gs>
              <a:gs pos="15000">
                <a:srgbClr val="CDCED0"/>
              </a:gs>
            </a:gsLst>
            <a:lin ang="2700000" scaled="1"/>
          </a:gradFill>
          <a:ln w="22225">
            <a:gradFill>
              <a:gsLst>
                <a:gs pos="36000">
                  <a:srgbClr val="FCFCFC"/>
                </a:gs>
                <a:gs pos="71000">
                  <a:srgbClr val="FAFCFB"/>
                </a:gs>
              </a:gsLst>
              <a:lin ang="3000000" scaled="0"/>
            </a:gra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32" name="圆角矩形 31"/>
          <p:cNvSpPr/>
          <p:nvPr/>
        </p:nvSpPr>
        <p:spPr>
          <a:xfrm>
            <a:off x="4849713" y="2177415"/>
            <a:ext cx="1106686" cy="353188"/>
          </a:xfrm>
          <a:prstGeom prst="roundRect">
            <a:avLst>
              <a:gd name="adj" fmla="val 12535"/>
            </a:avLst>
          </a:prstGeom>
          <a:gradFill>
            <a:gsLst>
              <a:gs pos="92000">
                <a:srgbClr val="FAFCFB"/>
              </a:gs>
              <a:gs pos="15000">
                <a:srgbClr val="CDCED0"/>
              </a:gs>
            </a:gsLst>
            <a:lin ang="2700000" scaled="1"/>
          </a:gradFill>
          <a:ln w="22225">
            <a:gradFill>
              <a:gsLst>
                <a:gs pos="36000">
                  <a:srgbClr val="FCFCFC"/>
                </a:gs>
                <a:gs pos="71000">
                  <a:srgbClr val="FAFCFB"/>
                </a:gs>
              </a:gsLst>
              <a:lin ang="3000000" scaled="0"/>
            </a:gra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33" name="圆角矩形 32"/>
          <p:cNvSpPr/>
          <p:nvPr/>
        </p:nvSpPr>
        <p:spPr>
          <a:xfrm>
            <a:off x="6477298" y="2177415"/>
            <a:ext cx="1106686" cy="353188"/>
          </a:xfrm>
          <a:prstGeom prst="roundRect">
            <a:avLst>
              <a:gd name="adj" fmla="val 12535"/>
            </a:avLst>
          </a:prstGeom>
          <a:gradFill>
            <a:gsLst>
              <a:gs pos="92000">
                <a:srgbClr val="FAFCFB"/>
              </a:gs>
              <a:gs pos="15000">
                <a:srgbClr val="CDCED0"/>
              </a:gs>
            </a:gsLst>
            <a:lin ang="2700000" scaled="1"/>
          </a:gradFill>
          <a:ln w="22225">
            <a:gradFill>
              <a:gsLst>
                <a:gs pos="36000">
                  <a:srgbClr val="FCFCFC"/>
                </a:gs>
                <a:gs pos="71000">
                  <a:srgbClr val="FAFCFB"/>
                </a:gs>
              </a:gsLst>
              <a:lin ang="3000000" scaled="0"/>
            </a:gra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圆角矩形 29"/>
          <p:cNvSpPr/>
          <p:nvPr/>
        </p:nvSpPr>
        <p:spPr>
          <a:xfrm>
            <a:off x="1503921" y="2177415"/>
            <a:ext cx="1106686" cy="353188"/>
          </a:xfrm>
          <a:prstGeom prst="roundRect">
            <a:avLst>
              <a:gd name="adj" fmla="val 12535"/>
            </a:avLst>
          </a:prstGeom>
          <a:gradFill>
            <a:gsLst>
              <a:gs pos="92000">
                <a:srgbClr val="FAFCFB"/>
              </a:gs>
              <a:gs pos="15000">
                <a:srgbClr val="CDCED0"/>
              </a:gs>
            </a:gsLst>
            <a:lin ang="2700000" scaled="1"/>
          </a:gradFill>
          <a:ln w="22225">
            <a:gradFill>
              <a:gsLst>
                <a:gs pos="36000">
                  <a:srgbClr val="FCFCFC"/>
                </a:gs>
                <a:gs pos="71000">
                  <a:srgbClr val="FAFCFB"/>
                </a:gs>
              </a:gsLst>
              <a:lin ang="3000000" scaled="0"/>
            </a:gra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nvGrpSpPr>
          <p:cNvPr id="4" name="组合 3"/>
          <p:cNvGrpSpPr/>
          <p:nvPr/>
        </p:nvGrpSpPr>
        <p:grpSpPr bwMode="auto">
          <a:xfrm>
            <a:off x="2864644" y="1310878"/>
            <a:ext cx="1918097" cy="681038"/>
            <a:chOff x="0" y="0"/>
            <a:chExt cx="2636520" cy="1447800"/>
          </a:xfrm>
        </p:grpSpPr>
        <p:sp>
          <p:nvSpPr>
            <p:cNvPr id="5" name="任意多边形 4"/>
            <p:cNvSpPr>
              <a:spLocks noChangeArrowheads="1"/>
            </p:cNvSpPr>
            <p:nvPr/>
          </p:nvSpPr>
          <p:spPr bwMode="auto">
            <a:xfrm>
              <a:off x="0" y="0"/>
              <a:ext cx="2636520" cy="1447800"/>
            </a:xfrm>
            <a:custGeom>
              <a:avLst/>
              <a:gdLst>
                <a:gd name="T0" fmla="*/ 0 w 2636520"/>
                <a:gd name="T1" fmla="*/ 0 h 1447800"/>
                <a:gd name="T2" fmla="*/ 2103122 w 2636520"/>
                <a:gd name="T3" fmla="*/ 0 h 1447800"/>
                <a:gd name="T4" fmla="*/ 2636520 w 2636520"/>
                <a:gd name="T5" fmla="*/ 723900 h 1447800"/>
                <a:gd name="T6" fmla="*/ 2103122 w 2636520"/>
                <a:gd name="T7" fmla="*/ 1447800 h 1447800"/>
                <a:gd name="T8" fmla="*/ 0 w 2636520"/>
                <a:gd name="T9" fmla="*/ 1447800 h 1447800"/>
                <a:gd name="T10" fmla="*/ 0 w 2636520"/>
                <a:gd name="T11" fmla="*/ 1442632 h 1447800"/>
                <a:gd name="T12" fmla="*/ 529590 w 2636520"/>
                <a:gd name="T13" fmla="*/ 723900 h 1447800"/>
                <a:gd name="T14" fmla="*/ 0 w 2636520"/>
                <a:gd name="T15" fmla="*/ 5168 h 1447800"/>
                <a:gd name="T16" fmla="*/ 0 60000 65536"/>
                <a:gd name="T17" fmla="*/ 0 60000 65536"/>
                <a:gd name="T18" fmla="*/ 0 60000 65536"/>
                <a:gd name="T19" fmla="*/ 0 60000 65536"/>
                <a:gd name="T20" fmla="*/ 0 60000 65536"/>
                <a:gd name="T21" fmla="*/ 0 60000 65536"/>
                <a:gd name="T22" fmla="*/ 0 60000 65536"/>
                <a:gd name="T23" fmla="*/ 0 60000 65536"/>
                <a:gd name="T24" fmla="*/ 0 w 2636520"/>
                <a:gd name="T25" fmla="*/ 0 h 1447800"/>
                <a:gd name="T26" fmla="*/ 2636520 w 2636520"/>
                <a:gd name="T27" fmla="*/ 1447800 h 14478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6520" h="1447800">
                  <a:moveTo>
                    <a:pt x="0" y="0"/>
                  </a:moveTo>
                  <a:lnTo>
                    <a:pt x="2103122" y="0"/>
                  </a:lnTo>
                  <a:lnTo>
                    <a:pt x="2636520" y="723900"/>
                  </a:lnTo>
                  <a:lnTo>
                    <a:pt x="2103122" y="1447800"/>
                  </a:lnTo>
                  <a:lnTo>
                    <a:pt x="0" y="1447800"/>
                  </a:lnTo>
                  <a:lnTo>
                    <a:pt x="0" y="1442632"/>
                  </a:lnTo>
                  <a:lnTo>
                    <a:pt x="529590" y="723900"/>
                  </a:lnTo>
                  <a:lnTo>
                    <a:pt x="0" y="5168"/>
                  </a:lnTo>
                  <a:lnTo>
                    <a:pt x="0" y="0"/>
                  </a:lnTo>
                  <a:close/>
                </a:path>
              </a:pathLst>
            </a:custGeom>
            <a:solidFill>
              <a:schemeClr val="tx1">
                <a:lumMod val="65000"/>
                <a:lumOff val="35000"/>
                <a:alpha val="39999"/>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12700">
                  <a:solidFill>
                    <a:srgbClr val="42719B"/>
                  </a:solidFill>
                  <a:bevel/>
                </a14:hiddenLine>
              </a:ext>
            </a:extLst>
          </p:spPr>
          <p:txBody>
            <a:bodyPr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6" name="文本框 24"/>
            <p:cNvSpPr>
              <a:spLocks noChangeArrowheads="1"/>
            </p:cNvSpPr>
            <p:nvPr/>
          </p:nvSpPr>
          <p:spPr bwMode="auto">
            <a:xfrm>
              <a:off x="374822" y="135040"/>
              <a:ext cx="1874266" cy="1177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zh-CN" altLang="en-US" sz="1500" b="1" dirty="0">
                  <a:solidFill>
                    <a:schemeClr val="bg1"/>
                  </a:solidFill>
                  <a:latin typeface="Arial" panose="020B0604020202020204" pitchFamily="34" charset="0"/>
                  <a:ea typeface="微软雅黑" panose="020B0503020204020204" pitchFamily="34" charset="-122"/>
                  <a:sym typeface="Arial" panose="020B0604020202020204" pitchFamily="34" charset="0"/>
                </a:rPr>
                <a:t>社会主义市场经济初期</a:t>
              </a:r>
              <a:endParaRPr lang="zh-CN" altLang="en-US" sz="1500" b="1" baseline="-30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 name="组合 2"/>
          <p:cNvGrpSpPr/>
          <p:nvPr/>
        </p:nvGrpSpPr>
        <p:grpSpPr bwMode="auto">
          <a:xfrm>
            <a:off x="1262063" y="1310878"/>
            <a:ext cx="1918097" cy="681038"/>
            <a:chOff x="0" y="0"/>
            <a:chExt cx="2636520" cy="1447800"/>
          </a:xfrm>
        </p:grpSpPr>
        <p:sp>
          <p:nvSpPr>
            <p:cNvPr id="8" name="任意多边形 4"/>
            <p:cNvSpPr>
              <a:spLocks noChangeArrowheads="1"/>
            </p:cNvSpPr>
            <p:nvPr/>
          </p:nvSpPr>
          <p:spPr bwMode="auto">
            <a:xfrm>
              <a:off x="0" y="0"/>
              <a:ext cx="2636520" cy="1447800"/>
            </a:xfrm>
            <a:custGeom>
              <a:avLst/>
              <a:gdLst>
                <a:gd name="T0" fmla="*/ 0 w 2636520"/>
                <a:gd name="T1" fmla="*/ 0 h 1447800"/>
                <a:gd name="T2" fmla="*/ 2103122 w 2636520"/>
                <a:gd name="T3" fmla="*/ 0 h 1447800"/>
                <a:gd name="T4" fmla="*/ 2636520 w 2636520"/>
                <a:gd name="T5" fmla="*/ 723900 h 1447800"/>
                <a:gd name="T6" fmla="*/ 2103122 w 2636520"/>
                <a:gd name="T7" fmla="*/ 1447800 h 1447800"/>
                <a:gd name="T8" fmla="*/ 0 w 2636520"/>
                <a:gd name="T9" fmla="*/ 1447800 h 1447800"/>
                <a:gd name="T10" fmla="*/ 0 w 2636520"/>
                <a:gd name="T11" fmla="*/ 1442632 h 1447800"/>
                <a:gd name="T12" fmla="*/ 529590 w 2636520"/>
                <a:gd name="T13" fmla="*/ 723900 h 1447800"/>
                <a:gd name="T14" fmla="*/ 0 w 2636520"/>
                <a:gd name="T15" fmla="*/ 5168 h 1447800"/>
                <a:gd name="T16" fmla="*/ 0 60000 65536"/>
                <a:gd name="T17" fmla="*/ 0 60000 65536"/>
                <a:gd name="T18" fmla="*/ 0 60000 65536"/>
                <a:gd name="T19" fmla="*/ 0 60000 65536"/>
                <a:gd name="T20" fmla="*/ 0 60000 65536"/>
                <a:gd name="T21" fmla="*/ 0 60000 65536"/>
                <a:gd name="T22" fmla="*/ 0 60000 65536"/>
                <a:gd name="T23" fmla="*/ 0 60000 65536"/>
                <a:gd name="T24" fmla="*/ 0 w 2636520"/>
                <a:gd name="T25" fmla="*/ 0 h 1447800"/>
                <a:gd name="T26" fmla="*/ 2636520 w 2636520"/>
                <a:gd name="T27" fmla="*/ 1447800 h 14478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6520" h="1447800">
                  <a:moveTo>
                    <a:pt x="0" y="0"/>
                  </a:moveTo>
                  <a:lnTo>
                    <a:pt x="2103122" y="0"/>
                  </a:lnTo>
                  <a:lnTo>
                    <a:pt x="2636520" y="723900"/>
                  </a:lnTo>
                  <a:lnTo>
                    <a:pt x="2103122" y="1447800"/>
                  </a:lnTo>
                  <a:lnTo>
                    <a:pt x="0" y="1447800"/>
                  </a:lnTo>
                  <a:lnTo>
                    <a:pt x="0" y="1442632"/>
                  </a:lnTo>
                  <a:lnTo>
                    <a:pt x="529590" y="723900"/>
                  </a:lnTo>
                  <a:lnTo>
                    <a:pt x="0" y="5168"/>
                  </a:lnTo>
                  <a:lnTo>
                    <a:pt x="0" y="0"/>
                  </a:lnTo>
                  <a:close/>
                </a:path>
              </a:pathLst>
            </a:custGeom>
            <a:solidFill>
              <a:schemeClr val="tx1">
                <a:lumMod val="65000"/>
                <a:lumOff val="35000"/>
                <a:alpha val="39999"/>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12700">
                  <a:solidFill>
                    <a:srgbClr val="42719B"/>
                  </a:solidFill>
                  <a:bevel/>
                </a14:hiddenLine>
              </a:ext>
            </a:extLst>
          </p:spPr>
          <p:txBody>
            <a:bodyPr anchor="ctr"/>
            <a:lstStyle/>
            <a:p>
              <a:endParaRPr lang="zh-CN" altLang="en-US" sz="2000">
                <a:latin typeface="Arial" panose="020B0604020202020204" pitchFamily="34" charset="0"/>
                <a:ea typeface="微软雅黑" panose="020B0503020204020204" pitchFamily="34" charset="-122"/>
                <a:sym typeface="Arial" panose="020B0604020202020204" pitchFamily="34" charset="0"/>
              </a:endParaRPr>
            </a:p>
          </p:txBody>
        </p:sp>
        <p:sp>
          <p:nvSpPr>
            <p:cNvPr id="9" name="文本框 25"/>
            <p:cNvSpPr>
              <a:spLocks noChangeArrowheads="1"/>
            </p:cNvSpPr>
            <p:nvPr/>
          </p:nvSpPr>
          <p:spPr bwMode="auto">
            <a:xfrm>
              <a:off x="272839" y="380397"/>
              <a:ext cx="2293960" cy="687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00000"/>
                </a:lnSpc>
                <a:spcBef>
                  <a:spcPct val="0"/>
                </a:spcBef>
                <a:buNone/>
              </a:pPr>
              <a:r>
                <a:rPr lang="zh-CN" altLang="en-US" sz="1500" b="1" dirty="0">
                  <a:solidFill>
                    <a:schemeClr val="bg1"/>
                  </a:solidFill>
                  <a:latin typeface="Arial" panose="020B0604020202020204" pitchFamily="34" charset="0"/>
                  <a:ea typeface="微软雅黑" panose="020B0503020204020204" pitchFamily="34" charset="-122"/>
                  <a:sym typeface="Arial" panose="020B0604020202020204" pitchFamily="34" charset="0"/>
                </a:rPr>
                <a:t>计划经济时期</a:t>
              </a:r>
              <a:endParaRPr lang="zh-CN" altLang="en-US" sz="15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0" name="组合 23"/>
          <p:cNvGrpSpPr/>
          <p:nvPr/>
        </p:nvGrpSpPr>
        <p:grpSpPr bwMode="auto">
          <a:xfrm>
            <a:off x="6072188" y="1310878"/>
            <a:ext cx="1916906" cy="681038"/>
            <a:chOff x="0" y="0"/>
            <a:chExt cx="2636520" cy="1447800"/>
          </a:xfrm>
        </p:grpSpPr>
        <p:sp>
          <p:nvSpPr>
            <p:cNvPr id="11" name="任意多边形 7"/>
            <p:cNvSpPr>
              <a:spLocks noChangeArrowheads="1"/>
            </p:cNvSpPr>
            <p:nvPr/>
          </p:nvSpPr>
          <p:spPr bwMode="auto">
            <a:xfrm>
              <a:off x="0" y="0"/>
              <a:ext cx="2636520" cy="1447800"/>
            </a:xfrm>
            <a:custGeom>
              <a:avLst/>
              <a:gdLst>
                <a:gd name="T0" fmla="*/ 0 w 2636520"/>
                <a:gd name="T1" fmla="*/ 0 h 1447800"/>
                <a:gd name="T2" fmla="*/ 2103122 w 2636520"/>
                <a:gd name="T3" fmla="*/ 0 h 1447800"/>
                <a:gd name="T4" fmla="*/ 2636520 w 2636520"/>
                <a:gd name="T5" fmla="*/ 723900 h 1447800"/>
                <a:gd name="T6" fmla="*/ 2103122 w 2636520"/>
                <a:gd name="T7" fmla="*/ 1447800 h 1447800"/>
                <a:gd name="T8" fmla="*/ 0 w 2636520"/>
                <a:gd name="T9" fmla="*/ 1447800 h 1447800"/>
                <a:gd name="T10" fmla="*/ 0 w 2636520"/>
                <a:gd name="T11" fmla="*/ 1442632 h 1447800"/>
                <a:gd name="T12" fmla="*/ 529590 w 2636520"/>
                <a:gd name="T13" fmla="*/ 723900 h 1447800"/>
                <a:gd name="T14" fmla="*/ 0 w 2636520"/>
                <a:gd name="T15" fmla="*/ 5168 h 1447800"/>
                <a:gd name="T16" fmla="*/ 0 60000 65536"/>
                <a:gd name="T17" fmla="*/ 0 60000 65536"/>
                <a:gd name="T18" fmla="*/ 0 60000 65536"/>
                <a:gd name="T19" fmla="*/ 0 60000 65536"/>
                <a:gd name="T20" fmla="*/ 0 60000 65536"/>
                <a:gd name="T21" fmla="*/ 0 60000 65536"/>
                <a:gd name="T22" fmla="*/ 0 60000 65536"/>
                <a:gd name="T23" fmla="*/ 0 60000 65536"/>
                <a:gd name="T24" fmla="*/ 0 w 2636520"/>
                <a:gd name="T25" fmla="*/ 0 h 1447800"/>
                <a:gd name="T26" fmla="*/ 2636520 w 2636520"/>
                <a:gd name="T27" fmla="*/ 1447800 h 14478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6520" h="1447800">
                  <a:moveTo>
                    <a:pt x="0" y="0"/>
                  </a:moveTo>
                  <a:lnTo>
                    <a:pt x="2103122" y="0"/>
                  </a:lnTo>
                  <a:lnTo>
                    <a:pt x="2636520" y="723900"/>
                  </a:lnTo>
                  <a:lnTo>
                    <a:pt x="2103122" y="1447800"/>
                  </a:lnTo>
                  <a:lnTo>
                    <a:pt x="0" y="1447800"/>
                  </a:lnTo>
                  <a:lnTo>
                    <a:pt x="0" y="1442632"/>
                  </a:lnTo>
                  <a:lnTo>
                    <a:pt x="529590" y="723900"/>
                  </a:lnTo>
                  <a:lnTo>
                    <a:pt x="0" y="5168"/>
                  </a:lnTo>
                  <a:lnTo>
                    <a:pt x="0" y="0"/>
                  </a:lnTo>
                  <a:close/>
                </a:path>
              </a:pathLst>
            </a:custGeom>
            <a:solidFill>
              <a:schemeClr val="tx1">
                <a:lumMod val="65000"/>
                <a:lumOff val="35000"/>
                <a:alpha val="39999"/>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12700">
                  <a:solidFill>
                    <a:srgbClr val="42719B"/>
                  </a:solidFill>
                  <a:bevel/>
                </a14:hiddenLine>
              </a:ext>
            </a:extLst>
          </p:spPr>
          <p:txBody>
            <a:bodyPr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12" name="文本框 26"/>
            <p:cNvSpPr>
              <a:spLocks noChangeArrowheads="1"/>
            </p:cNvSpPr>
            <p:nvPr/>
          </p:nvSpPr>
          <p:spPr bwMode="auto">
            <a:xfrm>
              <a:off x="549123" y="186010"/>
              <a:ext cx="1565769" cy="1177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zh-CN" altLang="en-US" sz="1500" b="1" dirty="0">
                  <a:solidFill>
                    <a:schemeClr val="bg1"/>
                  </a:solidFill>
                  <a:latin typeface="Arial" panose="020B0604020202020204" pitchFamily="34" charset="0"/>
                  <a:ea typeface="微软雅黑" panose="020B0503020204020204" pitchFamily="34" charset="-122"/>
                  <a:sym typeface="Arial" panose="020B0604020202020204" pitchFamily="34" charset="0"/>
                </a:rPr>
                <a:t>经济全球化</a:t>
              </a:r>
              <a:r>
                <a:rPr lang="zh-CN" altLang="en-US" sz="1500" b="1"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背景</a:t>
              </a:r>
              <a:endParaRPr lang="zh-CN" altLang="en-US" sz="1500" b="1" baseline="-30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3" name="组合 22"/>
          <p:cNvGrpSpPr/>
          <p:nvPr/>
        </p:nvGrpSpPr>
        <p:grpSpPr bwMode="auto">
          <a:xfrm>
            <a:off x="4468416" y="1310878"/>
            <a:ext cx="1918097" cy="681038"/>
            <a:chOff x="0" y="0"/>
            <a:chExt cx="2636520" cy="1447800"/>
          </a:xfrm>
        </p:grpSpPr>
        <p:sp>
          <p:nvSpPr>
            <p:cNvPr id="14" name="任意多边形 6"/>
            <p:cNvSpPr>
              <a:spLocks noChangeArrowheads="1"/>
            </p:cNvSpPr>
            <p:nvPr/>
          </p:nvSpPr>
          <p:spPr bwMode="auto">
            <a:xfrm>
              <a:off x="0" y="0"/>
              <a:ext cx="2636520" cy="1447800"/>
            </a:xfrm>
            <a:custGeom>
              <a:avLst/>
              <a:gdLst>
                <a:gd name="T0" fmla="*/ 0 w 2636520"/>
                <a:gd name="T1" fmla="*/ 0 h 1447800"/>
                <a:gd name="T2" fmla="*/ 2103122 w 2636520"/>
                <a:gd name="T3" fmla="*/ 0 h 1447800"/>
                <a:gd name="T4" fmla="*/ 2636520 w 2636520"/>
                <a:gd name="T5" fmla="*/ 723900 h 1447800"/>
                <a:gd name="T6" fmla="*/ 2103122 w 2636520"/>
                <a:gd name="T7" fmla="*/ 1447800 h 1447800"/>
                <a:gd name="T8" fmla="*/ 0 w 2636520"/>
                <a:gd name="T9" fmla="*/ 1447800 h 1447800"/>
                <a:gd name="T10" fmla="*/ 0 w 2636520"/>
                <a:gd name="T11" fmla="*/ 1442632 h 1447800"/>
                <a:gd name="T12" fmla="*/ 529590 w 2636520"/>
                <a:gd name="T13" fmla="*/ 723900 h 1447800"/>
                <a:gd name="T14" fmla="*/ 0 w 2636520"/>
                <a:gd name="T15" fmla="*/ 5168 h 1447800"/>
                <a:gd name="T16" fmla="*/ 0 60000 65536"/>
                <a:gd name="T17" fmla="*/ 0 60000 65536"/>
                <a:gd name="T18" fmla="*/ 0 60000 65536"/>
                <a:gd name="T19" fmla="*/ 0 60000 65536"/>
                <a:gd name="T20" fmla="*/ 0 60000 65536"/>
                <a:gd name="T21" fmla="*/ 0 60000 65536"/>
                <a:gd name="T22" fmla="*/ 0 60000 65536"/>
                <a:gd name="T23" fmla="*/ 0 60000 65536"/>
                <a:gd name="T24" fmla="*/ 0 w 2636520"/>
                <a:gd name="T25" fmla="*/ 0 h 1447800"/>
                <a:gd name="T26" fmla="*/ 2636520 w 2636520"/>
                <a:gd name="T27" fmla="*/ 1447800 h 14478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6520" h="1447800">
                  <a:moveTo>
                    <a:pt x="0" y="0"/>
                  </a:moveTo>
                  <a:lnTo>
                    <a:pt x="2103122" y="0"/>
                  </a:lnTo>
                  <a:lnTo>
                    <a:pt x="2636520" y="723900"/>
                  </a:lnTo>
                  <a:lnTo>
                    <a:pt x="2103122" y="1447800"/>
                  </a:lnTo>
                  <a:lnTo>
                    <a:pt x="0" y="1447800"/>
                  </a:lnTo>
                  <a:lnTo>
                    <a:pt x="0" y="1442632"/>
                  </a:lnTo>
                  <a:lnTo>
                    <a:pt x="529590" y="723900"/>
                  </a:lnTo>
                  <a:lnTo>
                    <a:pt x="0" y="5168"/>
                  </a:lnTo>
                  <a:lnTo>
                    <a:pt x="0" y="0"/>
                  </a:lnTo>
                  <a:close/>
                </a:path>
              </a:pathLst>
            </a:custGeom>
            <a:solidFill>
              <a:schemeClr val="tx1">
                <a:lumMod val="65000"/>
                <a:lumOff val="35000"/>
                <a:alpha val="39999"/>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12700">
                  <a:solidFill>
                    <a:srgbClr val="42719B"/>
                  </a:solidFill>
                  <a:bevel/>
                </a14:hiddenLine>
              </a:ext>
            </a:extLst>
          </p:spPr>
          <p:txBody>
            <a:bodyPr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15" name="文本框 27"/>
            <p:cNvSpPr>
              <a:spLocks noChangeArrowheads="1"/>
            </p:cNvSpPr>
            <p:nvPr/>
          </p:nvSpPr>
          <p:spPr bwMode="auto">
            <a:xfrm>
              <a:off x="330619" y="36897"/>
              <a:ext cx="1934507" cy="1374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20000"/>
                </a:lnSpc>
                <a:spcBef>
                  <a:spcPct val="0"/>
                </a:spcBef>
                <a:buFont typeface="Arial" panose="020B0604020202020204" pitchFamily="34" charset="0"/>
                <a:buNone/>
              </a:pPr>
              <a:r>
                <a:rPr lang="zh-CN" altLang="en-US" sz="1500" b="1" dirty="0">
                  <a:solidFill>
                    <a:schemeClr val="bg1"/>
                  </a:solidFill>
                  <a:latin typeface="Arial" panose="020B0604020202020204" pitchFamily="34" charset="0"/>
                  <a:ea typeface="微软雅黑" panose="020B0503020204020204" pitchFamily="34" charset="-122"/>
                  <a:sym typeface="Arial" panose="020B0604020202020204" pitchFamily="34" charset="0"/>
                </a:rPr>
                <a:t>社会主义市场经济发展时期</a:t>
              </a:r>
              <a:endParaRPr lang="zh-CN" altLang="en-US" sz="1500" b="1" baseline="-30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17" name="矩形 32"/>
          <p:cNvSpPr>
            <a:spLocks noChangeArrowheads="1"/>
          </p:cNvSpPr>
          <p:nvPr/>
        </p:nvSpPr>
        <p:spPr bwMode="auto">
          <a:xfrm>
            <a:off x="1509436" y="2200275"/>
            <a:ext cx="999490"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zh-CN" altLang="en-US" sz="1700" dirty="0">
                <a:solidFill>
                  <a:srgbClr val="03A9F3"/>
                </a:solidFill>
                <a:latin typeface="Arial" panose="020B0604020202020204" pitchFamily="34" charset="0"/>
                <a:ea typeface="微软雅黑" panose="020B0503020204020204" pitchFamily="34" charset="-122"/>
                <a:sym typeface="Arial" panose="020B0604020202020204" pitchFamily="34" charset="0"/>
              </a:rPr>
              <a:t>政治组织</a:t>
            </a:r>
            <a:endParaRPr lang="en-US" altLang="zh-CN" sz="17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矩形 47"/>
          <p:cNvSpPr>
            <a:spLocks noChangeArrowheads="1"/>
          </p:cNvSpPr>
          <p:nvPr/>
        </p:nvSpPr>
        <p:spPr bwMode="auto">
          <a:xfrm>
            <a:off x="1296592" y="2610644"/>
            <a:ext cx="1578688" cy="67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20000"/>
              </a:lnSpc>
              <a:spcBef>
                <a:spcPct val="0"/>
              </a:spcBef>
              <a:buFont typeface="Arial" panose="020B0604020202020204" pitchFamily="34" charset="0"/>
              <a:buNone/>
            </a:pPr>
            <a:r>
              <a:rPr lang="zh-CN" altLang="en-US" sz="11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处理一切政治组织的政治观念和伦理原则，在商业领域</a:t>
            </a:r>
            <a:r>
              <a:rPr lang="zh-CN" altLang="en-US" sz="11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中同样适用</a:t>
            </a:r>
            <a:endParaRPr lang="zh-CN" altLang="en-US" sz="14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矩形 34"/>
          <p:cNvSpPr>
            <a:spLocks noChangeArrowheads="1"/>
          </p:cNvSpPr>
          <p:nvPr/>
        </p:nvSpPr>
        <p:spPr bwMode="auto">
          <a:xfrm>
            <a:off x="3189407" y="2200275"/>
            <a:ext cx="999490"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zh-CN" altLang="en-US" sz="17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开始探索</a:t>
            </a:r>
            <a:endParaRPr lang="en-US" altLang="zh-CN" sz="17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20" name="矩形 47"/>
          <p:cNvSpPr>
            <a:spLocks noChangeArrowheads="1"/>
          </p:cNvSpPr>
          <p:nvPr/>
        </p:nvSpPr>
        <p:spPr bwMode="auto">
          <a:xfrm>
            <a:off x="3007519" y="2559844"/>
            <a:ext cx="1406129" cy="1080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20000"/>
              </a:lnSpc>
              <a:spcBef>
                <a:spcPct val="0"/>
              </a:spcBef>
              <a:buFont typeface="Arial" panose="020B0604020202020204" pitchFamily="34" charset="0"/>
              <a:buNone/>
            </a:pPr>
            <a:r>
              <a:rPr lang="zh-CN" altLang="en-US" sz="11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在伦理学研究的层次上探讨经济与道德的关系，在实践中主要研究职业道德教育和职业道德</a:t>
            </a:r>
            <a:r>
              <a:rPr lang="zh-CN" altLang="en-US" sz="11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修养</a:t>
            </a:r>
            <a:endParaRPr lang="zh-CN" altLang="en-US" sz="14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矩形 36"/>
          <p:cNvSpPr>
            <a:spLocks noChangeArrowheads="1"/>
          </p:cNvSpPr>
          <p:nvPr/>
        </p:nvSpPr>
        <p:spPr bwMode="auto">
          <a:xfrm>
            <a:off x="4866999" y="2200275"/>
            <a:ext cx="999490"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zh-CN" altLang="en-US" sz="1700"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信用危机</a:t>
            </a:r>
            <a:endParaRPr lang="en-US" altLang="zh-CN" sz="17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22" name="矩形 47"/>
          <p:cNvSpPr>
            <a:spLocks noChangeArrowheads="1"/>
          </p:cNvSpPr>
          <p:nvPr/>
        </p:nvSpPr>
        <p:spPr bwMode="auto">
          <a:xfrm>
            <a:off x="4693444" y="2559844"/>
            <a:ext cx="1534636" cy="128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20000"/>
              </a:lnSpc>
              <a:spcBef>
                <a:spcPct val="0"/>
              </a:spcBef>
              <a:buFont typeface="Arial" panose="020B0604020202020204" pitchFamily="34" charset="0"/>
              <a:buNone/>
            </a:pPr>
            <a:r>
              <a:rPr lang="zh-CN" altLang="en-US" sz="11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不道德现象减少消费者需求、顾虑增多；妨碍企业运作与制度建立；造成市场秩序</a:t>
            </a:r>
            <a:r>
              <a:rPr lang="zh-CN" altLang="en-US" sz="11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混乱。商业</a:t>
            </a:r>
            <a:r>
              <a:rPr lang="zh-CN" altLang="en-US" sz="11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伦理道德教育</a:t>
            </a:r>
            <a:r>
              <a:rPr lang="zh-CN" altLang="en-US" sz="11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建设开始受到关注</a:t>
            </a:r>
            <a:endParaRPr lang="zh-CN" altLang="en-US" sz="11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矩形 38"/>
          <p:cNvSpPr>
            <a:spLocks noChangeArrowheads="1"/>
          </p:cNvSpPr>
          <p:nvPr/>
        </p:nvSpPr>
        <p:spPr bwMode="auto">
          <a:xfrm>
            <a:off x="6654324" y="2200275"/>
            <a:ext cx="783590"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zh-CN" altLang="en-US" sz="17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全球化</a:t>
            </a:r>
            <a:endParaRPr lang="en-US" altLang="zh-CN" sz="17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24" name="矩形 47"/>
          <p:cNvSpPr>
            <a:spLocks noChangeArrowheads="1"/>
          </p:cNvSpPr>
          <p:nvPr/>
        </p:nvSpPr>
        <p:spPr bwMode="auto">
          <a:xfrm>
            <a:off x="6504226" y="2559844"/>
            <a:ext cx="1406128" cy="2296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20000"/>
              </a:lnSpc>
              <a:spcBef>
                <a:spcPct val="0"/>
              </a:spcBef>
              <a:buFont typeface="Arial" panose="020B0604020202020204" pitchFamily="34" charset="0"/>
              <a:buNone/>
            </a:pPr>
            <a:r>
              <a:rPr lang="zh-CN" altLang="en-US" sz="11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全球化与信息社会的到来对我国原有的伦理观念提出了新的挑战，一系列现代的、全新的观念诸如自主意识、竞争意识、效率意识、民主法制意识和开拓创新精神等，进一步丰富了企业伦理道德的内涵，产生了很多</a:t>
            </a:r>
            <a:r>
              <a:rPr lang="zh-CN" altLang="en-US" sz="11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积极因素</a:t>
            </a:r>
            <a:endParaRPr lang="zh-CN" altLang="en-US" sz="14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6" name="矩形 35"/>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44" name="Picture 172"/>
          <p:cNvPicPr>
            <a:picLocks noChangeAspect="1" noChangeArrowheads="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8"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41" name="图片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 name="标题 1"/>
          <p:cNvSpPr>
            <a:spLocks noGrp="1"/>
          </p:cNvSpPr>
          <p:nvPr>
            <p:ph type="title"/>
          </p:nvPr>
        </p:nvSpPr>
        <p:spPr>
          <a:xfrm>
            <a:off x="457200" y="140335"/>
            <a:ext cx="3038475" cy="331470"/>
          </a:xfrm>
        </p:spPr>
        <p:txBody>
          <a:bodyPr>
            <a:noAutofit/>
          </a:bodyPr>
          <a:p>
            <a:r>
              <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中国的商业伦理</a:t>
            </a:r>
            <a:endPar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图片 3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72490" y="140335"/>
            <a:ext cx="2634615" cy="364490"/>
          </a:xfrm>
          <a:prstGeom prst="homePlate">
            <a:avLst>
              <a:gd name="adj" fmla="val 34324"/>
            </a:avLst>
          </a:prstGeom>
        </p:spPr>
      </p:pic>
      <p:sp>
        <p:nvSpPr>
          <p:cNvPr id="2" name="标题 1"/>
          <p:cNvSpPr>
            <a:spLocks noGrp="1"/>
          </p:cNvSpPr>
          <p:nvPr>
            <p:ph type="title"/>
          </p:nvPr>
        </p:nvSpPr>
        <p:spPr>
          <a:xfrm>
            <a:off x="808355" y="96520"/>
            <a:ext cx="2768600" cy="477520"/>
          </a:xfrm>
        </p:spPr>
        <p:txBody>
          <a:bodyPr>
            <a:noAutofit/>
          </a:bodyPr>
          <a:p>
            <a:r>
              <a:rPr lang="zh-CN" altLang="en-US" sz="16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商业伦理在国外的发展</a:t>
            </a:r>
            <a:endParaRPr lang="zh-CN" altLang="en-US" sz="1600" b="1" spc="3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graphicFrame>
        <p:nvGraphicFramePr>
          <p:cNvPr id="5" name="对象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 name="think-cell Slide" r:id="rId3" imgW="5715" imgH="5715" progId="">
                  <p:embed/>
                </p:oleObj>
              </mc:Choice>
              <mc:Fallback>
                <p:oleObj name="think-cell Slide" r:id="rId3" imgW="5715" imgH="5715" progId="">
                  <p:embed/>
                  <p:pic>
                    <p:nvPicPr>
                      <p:cNvPr id="0" name="图片 5120"/>
                      <p:cNvPicPr>
                        <a:picLocks noChangeAspect="1"/>
                      </p:cNvPicPr>
                      <p:nvPr/>
                    </p:nvPicPr>
                    <p:blipFill>
                      <a:blip r:embed="rId4"/>
                      <a:stretch>
                        <a:fillRect/>
                      </a:stretch>
                    </p:blipFill>
                    <p:spPr>
                      <a:xfrm>
                        <a:off x="1588" y="1588"/>
                        <a:ext cx="1587" cy="1587"/>
                      </a:xfrm>
                      <a:prstGeom prst="rect">
                        <a:avLst/>
                      </a:prstGeom>
                      <a:noFill/>
                      <a:ln w="9525">
                        <a:noFill/>
                      </a:ln>
                    </p:spPr>
                  </p:pic>
                </p:oleObj>
              </mc:Fallback>
            </mc:AlternateContent>
          </a:graphicData>
        </a:graphic>
      </p:graphicFrame>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06517" y="14063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TextBox 27"/>
          <p:cNvSpPr txBox="1"/>
          <p:nvPr/>
        </p:nvSpPr>
        <p:spPr>
          <a:xfrm>
            <a:off x="372708" y="1333321"/>
            <a:ext cx="7884832" cy="737235"/>
          </a:xfrm>
          <a:prstGeom prst="rect">
            <a:avLst/>
          </a:prstGeom>
          <a:noFill/>
        </p:spPr>
        <p:txBody>
          <a:bodyPr wrap="square" rtlCol="0">
            <a:spAutoFit/>
          </a:bodyPr>
          <a:lstStyle/>
          <a:p>
            <a:pPr>
              <a:buFont typeface="Wingdings" panose="05000000000000000000" pitchFamily="2" charset="2"/>
              <a:buChar char="l"/>
            </a:pP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20</a:t>
            </a:r>
            <a:r>
              <a:rPr lang="zh-CN"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世纪</a:t>
            </a: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50</a:t>
            </a:r>
            <a:r>
              <a:rPr lang="zh-CN"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年代前后，当时企业界和学术界对于商业伦理和公司责任这些问题还没有产生大的兴趣，绝大多数人并不关心那些有关商业伦理和公司社会责任的公共政策，只有少数学者开始探讨企业的社会角色这一令人困惑的复杂</a:t>
            </a:r>
            <a:r>
              <a:rPr lang="zh-CN" altLang="zh-CN" sz="1400"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问题</a:t>
            </a:r>
            <a:endPar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29" name="TextBox 28"/>
          <p:cNvSpPr txBox="1"/>
          <p:nvPr/>
        </p:nvSpPr>
        <p:spPr>
          <a:xfrm>
            <a:off x="372708" y="963989"/>
            <a:ext cx="2240280" cy="368300"/>
          </a:xfrm>
          <a:prstGeom prst="rect">
            <a:avLst/>
          </a:prstGeom>
          <a:noFill/>
        </p:spPr>
        <p:txBody>
          <a:bodyPr wrap="none" rtlCol="0">
            <a:spAutoFit/>
          </a:bodyPr>
          <a:lstStyle/>
          <a:p>
            <a:r>
              <a:rPr lang="zh-CN" altLang="en-US" dirty="0" smtClean="0">
                <a:solidFill>
                  <a:srgbClr val="0067B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第一阶段：萌芽</a:t>
            </a:r>
            <a:r>
              <a:rPr lang="zh-CN" altLang="en-US" dirty="0">
                <a:solidFill>
                  <a:srgbClr val="0067B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时期</a:t>
            </a:r>
            <a:endParaRPr lang="zh-CN" altLang="en-US" dirty="0">
              <a:solidFill>
                <a:srgbClr val="0067B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30" name="TextBox 29"/>
          <p:cNvSpPr txBox="1"/>
          <p:nvPr/>
        </p:nvSpPr>
        <p:spPr>
          <a:xfrm>
            <a:off x="372708" y="2402212"/>
            <a:ext cx="7978812" cy="737235"/>
          </a:xfrm>
          <a:prstGeom prst="rect">
            <a:avLst/>
          </a:prstGeom>
          <a:noFill/>
        </p:spPr>
        <p:txBody>
          <a:bodyPr wrap="square" rtlCol="0">
            <a:spAutoFit/>
          </a:bodyPr>
          <a:lstStyle/>
          <a:p>
            <a:pPr>
              <a:buFont typeface="Wingdings" panose="05000000000000000000" pitchFamily="2" charset="2"/>
              <a:buChar char="l"/>
            </a:pP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20</a:t>
            </a:r>
            <a:r>
              <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世纪</a:t>
            </a: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60</a:t>
            </a:r>
            <a:r>
              <a:rPr lang="zh-CN" altLang="en-US" sz="1400"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年代，第二次世界大战</a:t>
            </a:r>
            <a:r>
              <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后，美国在恢复战后经济的基础上，实现了经济的飞跃发展，同时却发生了一系列违背道德的经营行为，如社会腐败、环境污染等，引发了保护消费者利益运动。当时，宗教人士率先呼吁人们要重视企业</a:t>
            </a:r>
            <a:r>
              <a:rPr lang="zh-CN" altLang="en-US" sz="1400"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伦理问题</a:t>
            </a:r>
            <a:endPar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31" name="TextBox 30"/>
          <p:cNvSpPr txBox="1"/>
          <p:nvPr/>
        </p:nvSpPr>
        <p:spPr>
          <a:xfrm>
            <a:off x="372708" y="2032880"/>
            <a:ext cx="2240280" cy="368300"/>
          </a:xfrm>
          <a:prstGeom prst="rect">
            <a:avLst/>
          </a:prstGeom>
          <a:noFill/>
        </p:spPr>
        <p:txBody>
          <a:bodyPr wrap="none" rtlCol="0">
            <a:spAutoFit/>
          </a:bodyPr>
          <a:lstStyle/>
          <a:p>
            <a:r>
              <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rPr>
              <a:t>第二</a:t>
            </a:r>
            <a:r>
              <a:rPr lang="zh-CN" altLang="en-US"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阶段：转型</a:t>
            </a:r>
            <a:r>
              <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rPr>
              <a:t>时期</a:t>
            </a:r>
            <a:endPar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36" name="TextBox 35"/>
          <p:cNvSpPr txBox="1"/>
          <p:nvPr/>
        </p:nvSpPr>
        <p:spPr>
          <a:xfrm>
            <a:off x="372708" y="3620107"/>
            <a:ext cx="8070252" cy="953135"/>
          </a:xfrm>
          <a:prstGeom prst="rect">
            <a:avLst/>
          </a:prstGeom>
          <a:noFill/>
        </p:spPr>
        <p:txBody>
          <a:bodyPr wrap="square" rtlCol="0">
            <a:spAutoFit/>
          </a:bodyPr>
          <a:lstStyle/>
          <a:p>
            <a:pPr>
              <a:buFont typeface="Wingdings" panose="05000000000000000000" pitchFamily="2" charset="2"/>
              <a:buChar char="l"/>
            </a:pP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20</a:t>
            </a:r>
            <a:r>
              <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世纪</a:t>
            </a: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70</a:t>
            </a:r>
            <a:r>
              <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年代，随着经济的发展和市场经济越来越成熟，企业经营中的贿赂、欺诈性广告、价格共谋、产品安全等问题越来越突出，同时参与研究企业伦理的学者也从宗教人士扩展到社会学家、经济学家、哲学家及企业管理者。企业的社会责任、道德在经营决策中的作用及影响企业伦理的决策因素等问题受到了社会的普遍</a:t>
            </a:r>
            <a:r>
              <a:rPr lang="zh-CN" altLang="en-US" sz="1400"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关注</a:t>
            </a:r>
            <a:endPar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37" name="TextBox 36"/>
          <p:cNvSpPr txBox="1"/>
          <p:nvPr/>
        </p:nvSpPr>
        <p:spPr>
          <a:xfrm>
            <a:off x="372708" y="3199975"/>
            <a:ext cx="2240280" cy="368300"/>
          </a:xfrm>
          <a:prstGeom prst="rect">
            <a:avLst/>
          </a:prstGeom>
          <a:noFill/>
        </p:spPr>
        <p:txBody>
          <a:bodyPr wrap="none" rtlCol="0">
            <a:spAutoFit/>
          </a:bodyPr>
          <a:lstStyle/>
          <a:p>
            <a:r>
              <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rPr>
              <a:t>第三</a:t>
            </a:r>
            <a:r>
              <a:rPr lang="zh-CN" altLang="en-US"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阶段：成长</a:t>
            </a:r>
            <a:r>
              <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rPr>
              <a:t>时期</a:t>
            </a:r>
            <a:endPar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7"/>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7"/>
          <p:cNvSpPr>
            <a:spLocks noChangeArrowheads="1"/>
          </p:cNvSpPr>
          <p:nvPr/>
        </p:nvSpPr>
        <p:spPr bwMode="auto">
          <a:xfrm>
            <a:off x="7938" y="-7938"/>
            <a:ext cx="1879600" cy="5143501"/>
          </a:xfrm>
          <a:prstGeom prst="rect">
            <a:avLst/>
          </a:prstGeom>
          <a:solidFill>
            <a:srgbClr val="1D9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0" name="任意多边形 40"/>
          <p:cNvSpPr>
            <a:spLocks noChangeArrowheads="1"/>
          </p:cNvSpPr>
          <p:nvPr/>
        </p:nvSpPr>
        <p:spPr bwMode="auto">
          <a:xfrm>
            <a:off x="3860800" y="4000500"/>
            <a:ext cx="615950" cy="831850"/>
          </a:xfrm>
          <a:custGeom>
            <a:avLst/>
            <a:gdLst>
              <a:gd name="T0" fmla="*/ 0 w 577850"/>
              <a:gd name="T1" fmla="*/ 0 h 736600"/>
              <a:gd name="T2" fmla="*/ 361950 w 577850"/>
              <a:gd name="T3" fmla="*/ 736600 h 736600"/>
              <a:gd name="T4" fmla="*/ 577850 w 577850"/>
              <a:gd name="T5" fmla="*/ 476250 h 736600"/>
              <a:gd name="T6" fmla="*/ 0 w 577850"/>
              <a:gd name="T7" fmla="*/ 0 h 736600"/>
              <a:gd name="T8" fmla="*/ 0 60000 65536"/>
              <a:gd name="T9" fmla="*/ 0 60000 65536"/>
              <a:gd name="T10" fmla="*/ 0 60000 65536"/>
              <a:gd name="T11" fmla="*/ 0 60000 65536"/>
              <a:gd name="T12" fmla="*/ 0 w 577850"/>
              <a:gd name="T13" fmla="*/ 0 h 736600"/>
              <a:gd name="T14" fmla="*/ 577850 w 577850"/>
              <a:gd name="T15" fmla="*/ 736600 h 736600"/>
            </a:gdLst>
            <a:ahLst/>
            <a:cxnLst>
              <a:cxn ang="T8">
                <a:pos x="T0" y="T1"/>
              </a:cxn>
              <a:cxn ang="T9">
                <a:pos x="T2" y="T3"/>
              </a:cxn>
              <a:cxn ang="T10">
                <a:pos x="T4" y="T5"/>
              </a:cxn>
              <a:cxn ang="T11">
                <a:pos x="T6" y="T7"/>
              </a:cxn>
            </a:cxnLst>
            <a:rect l="T12" t="T13" r="T14" b="T15"/>
            <a:pathLst>
              <a:path w="577850" h="736600">
                <a:moveTo>
                  <a:pt x="0" y="0"/>
                </a:moveTo>
                <a:lnTo>
                  <a:pt x="361950" y="736600"/>
                </a:lnTo>
                <a:lnTo>
                  <a:pt x="577850" y="476250"/>
                </a:lnTo>
                <a:lnTo>
                  <a:pt x="0" y="0"/>
                </a:lnTo>
                <a:close/>
              </a:path>
            </a:pathLst>
          </a:custGeom>
          <a:solidFill>
            <a:srgbClr val="EC25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1" name="任意多边形 46"/>
          <p:cNvSpPr>
            <a:spLocks noChangeArrowheads="1"/>
          </p:cNvSpPr>
          <p:nvPr/>
        </p:nvSpPr>
        <p:spPr bwMode="auto">
          <a:xfrm>
            <a:off x="4210050" y="4495800"/>
            <a:ext cx="596900" cy="336550"/>
          </a:xfrm>
          <a:custGeom>
            <a:avLst/>
            <a:gdLst>
              <a:gd name="T0" fmla="*/ 0 w 495300"/>
              <a:gd name="T1" fmla="*/ 266700 h 266700"/>
              <a:gd name="T2" fmla="*/ 495300 w 495300"/>
              <a:gd name="T3" fmla="*/ 266700 h 266700"/>
              <a:gd name="T4" fmla="*/ 177800 w 495300"/>
              <a:gd name="T5" fmla="*/ 0 h 266700"/>
              <a:gd name="T6" fmla="*/ 0 w 495300"/>
              <a:gd name="T7" fmla="*/ 266700 h 266700"/>
              <a:gd name="T8" fmla="*/ 0 60000 65536"/>
              <a:gd name="T9" fmla="*/ 0 60000 65536"/>
              <a:gd name="T10" fmla="*/ 0 60000 65536"/>
              <a:gd name="T11" fmla="*/ 0 60000 65536"/>
              <a:gd name="T12" fmla="*/ 0 w 495300"/>
              <a:gd name="T13" fmla="*/ 0 h 266700"/>
              <a:gd name="T14" fmla="*/ 495300 w 495300"/>
              <a:gd name="T15" fmla="*/ 266700 h 266700"/>
            </a:gdLst>
            <a:ahLst/>
            <a:cxnLst>
              <a:cxn ang="T8">
                <a:pos x="T0" y="T1"/>
              </a:cxn>
              <a:cxn ang="T9">
                <a:pos x="T2" y="T3"/>
              </a:cxn>
              <a:cxn ang="T10">
                <a:pos x="T4" y="T5"/>
              </a:cxn>
              <a:cxn ang="T11">
                <a:pos x="T6" y="T7"/>
              </a:cxn>
            </a:cxnLst>
            <a:rect l="T12" t="T13" r="T14" b="T15"/>
            <a:pathLst>
              <a:path w="495300" h="266700">
                <a:moveTo>
                  <a:pt x="0" y="266700"/>
                </a:moveTo>
                <a:lnTo>
                  <a:pt x="495300" y="266700"/>
                </a:lnTo>
                <a:lnTo>
                  <a:pt x="177800" y="0"/>
                </a:lnTo>
                <a:lnTo>
                  <a:pt x="0" y="266700"/>
                </a:lnTo>
                <a:close/>
              </a:path>
            </a:pathLst>
          </a:custGeom>
          <a:solidFill>
            <a:srgbClr val="5D0B2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任意多边形 18"/>
          <p:cNvSpPr>
            <a:spLocks noChangeArrowheads="1"/>
          </p:cNvSpPr>
          <p:nvPr/>
        </p:nvSpPr>
        <p:spPr bwMode="auto">
          <a:xfrm>
            <a:off x="3092450" y="-101600"/>
            <a:ext cx="488950" cy="1384300"/>
          </a:xfrm>
          <a:custGeom>
            <a:avLst/>
            <a:gdLst>
              <a:gd name="T0" fmla="*/ 0 w 457200"/>
              <a:gd name="T1" fmla="*/ 0 h 1358900"/>
              <a:gd name="T2" fmla="*/ 457200 w 457200"/>
              <a:gd name="T3" fmla="*/ 1358900 h 1358900"/>
              <a:gd name="T4" fmla="*/ 127000 w 457200"/>
              <a:gd name="T5" fmla="*/ 1181100 h 1358900"/>
              <a:gd name="T6" fmla="*/ 0 w 457200"/>
              <a:gd name="T7" fmla="*/ 0 h 1358900"/>
              <a:gd name="T8" fmla="*/ 0 60000 65536"/>
              <a:gd name="T9" fmla="*/ 0 60000 65536"/>
              <a:gd name="T10" fmla="*/ 0 60000 65536"/>
              <a:gd name="T11" fmla="*/ 0 60000 65536"/>
              <a:gd name="T12" fmla="*/ 0 w 457200"/>
              <a:gd name="T13" fmla="*/ 0 h 1358900"/>
              <a:gd name="T14" fmla="*/ 457200 w 457200"/>
              <a:gd name="T15" fmla="*/ 1358900 h 1358900"/>
            </a:gdLst>
            <a:ahLst/>
            <a:cxnLst>
              <a:cxn ang="T8">
                <a:pos x="T0" y="T1"/>
              </a:cxn>
              <a:cxn ang="T9">
                <a:pos x="T2" y="T3"/>
              </a:cxn>
              <a:cxn ang="T10">
                <a:pos x="T4" y="T5"/>
              </a:cxn>
              <a:cxn ang="T11">
                <a:pos x="T6" y="T7"/>
              </a:cxn>
            </a:cxnLst>
            <a:rect l="T12" t="T13" r="T14" b="T15"/>
            <a:pathLst>
              <a:path w="457200" h="1358900">
                <a:moveTo>
                  <a:pt x="0" y="0"/>
                </a:moveTo>
                <a:lnTo>
                  <a:pt x="457200" y="1358900"/>
                </a:lnTo>
                <a:lnTo>
                  <a:pt x="127000" y="1181100"/>
                </a:lnTo>
                <a:lnTo>
                  <a:pt x="0" y="0"/>
                </a:lnTo>
                <a:close/>
              </a:path>
            </a:pathLst>
          </a:custGeom>
          <a:solidFill>
            <a:srgbClr val="260D0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3" name="任意多边形 48"/>
          <p:cNvSpPr>
            <a:spLocks noChangeArrowheads="1"/>
          </p:cNvSpPr>
          <p:nvPr/>
        </p:nvSpPr>
        <p:spPr bwMode="auto">
          <a:xfrm rot="303070">
            <a:off x="4429125" y="4800600"/>
            <a:ext cx="522288" cy="365125"/>
          </a:xfrm>
          <a:custGeom>
            <a:avLst/>
            <a:gdLst>
              <a:gd name="T0" fmla="*/ 311150 w 476250"/>
              <a:gd name="T1" fmla="*/ 0 h 311150"/>
              <a:gd name="T2" fmla="*/ 476250 w 476250"/>
              <a:gd name="T3" fmla="*/ 273050 h 311150"/>
              <a:gd name="T4" fmla="*/ 0 w 476250"/>
              <a:gd name="T5" fmla="*/ 311150 h 311150"/>
              <a:gd name="T6" fmla="*/ 311150 w 476250"/>
              <a:gd name="T7" fmla="*/ 0 h 311150"/>
              <a:gd name="T8" fmla="*/ 0 60000 65536"/>
              <a:gd name="T9" fmla="*/ 0 60000 65536"/>
              <a:gd name="T10" fmla="*/ 0 60000 65536"/>
              <a:gd name="T11" fmla="*/ 0 60000 65536"/>
              <a:gd name="T12" fmla="*/ 0 w 476250"/>
              <a:gd name="T13" fmla="*/ 0 h 311150"/>
              <a:gd name="T14" fmla="*/ 476250 w 476250"/>
              <a:gd name="T15" fmla="*/ 311150 h 311150"/>
            </a:gdLst>
            <a:ahLst/>
            <a:cxnLst>
              <a:cxn ang="T8">
                <a:pos x="T0" y="T1"/>
              </a:cxn>
              <a:cxn ang="T9">
                <a:pos x="T2" y="T3"/>
              </a:cxn>
              <a:cxn ang="T10">
                <a:pos x="T4" y="T5"/>
              </a:cxn>
              <a:cxn ang="T11">
                <a:pos x="T6" y="T7"/>
              </a:cxn>
            </a:cxnLst>
            <a:rect l="T12" t="T13" r="T14" b="T15"/>
            <a:pathLst>
              <a:path w="476250" h="311150">
                <a:moveTo>
                  <a:pt x="311150" y="0"/>
                </a:moveTo>
                <a:lnTo>
                  <a:pt x="476250" y="273050"/>
                </a:lnTo>
                <a:lnTo>
                  <a:pt x="0" y="311150"/>
                </a:lnTo>
                <a:lnTo>
                  <a:pt x="311150" y="0"/>
                </a:lnTo>
                <a:close/>
              </a:path>
            </a:pathLst>
          </a:custGeom>
          <a:solidFill>
            <a:srgbClr val="A21F2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4" name="任意多边形 37"/>
          <p:cNvSpPr>
            <a:spLocks noChangeArrowheads="1"/>
          </p:cNvSpPr>
          <p:nvPr/>
        </p:nvSpPr>
        <p:spPr bwMode="auto">
          <a:xfrm>
            <a:off x="3886200" y="4057650"/>
            <a:ext cx="749300" cy="381000"/>
          </a:xfrm>
          <a:custGeom>
            <a:avLst/>
            <a:gdLst>
              <a:gd name="T0" fmla="*/ 0 w 673100"/>
              <a:gd name="T1" fmla="*/ 6350 h 349250"/>
              <a:gd name="T2" fmla="*/ 673100 w 673100"/>
              <a:gd name="T3" fmla="*/ 349250 h 349250"/>
              <a:gd name="T4" fmla="*/ 520700 w 673100"/>
              <a:gd name="T5" fmla="*/ 0 h 349250"/>
              <a:gd name="T6" fmla="*/ 0 w 673100"/>
              <a:gd name="T7" fmla="*/ 6350 h 349250"/>
              <a:gd name="T8" fmla="*/ 0 60000 65536"/>
              <a:gd name="T9" fmla="*/ 0 60000 65536"/>
              <a:gd name="T10" fmla="*/ 0 60000 65536"/>
              <a:gd name="T11" fmla="*/ 0 60000 65536"/>
              <a:gd name="T12" fmla="*/ 0 w 673100"/>
              <a:gd name="T13" fmla="*/ 0 h 349250"/>
              <a:gd name="T14" fmla="*/ 673100 w 673100"/>
              <a:gd name="T15" fmla="*/ 349250 h 349250"/>
            </a:gdLst>
            <a:ahLst/>
            <a:cxnLst>
              <a:cxn ang="T8">
                <a:pos x="T0" y="T1"/>
              </a:cxn>
              <a:cxn ang="T9">
                <a:pos x="T2" y="T3"/>
              </a:cxn>
              <a:cxn ang="T10">
                <a:pos x="T4" y="T5"/>
              </a:cxn>
              <a:cxn ang="T11">
                <a:pos x="T6" y="T7"/>
              </a:cxn>
            </a:cxnLst>
            <a:rect l="T12" t="T13" r="T14" b="T15"/>
            <a:pathLst>
              <a:path w="673100" h="349250">
                <a:moveTo>
                  <a:pt x="0" y="6350"/>
                </a:moveTo>
                <a:lnTo>
                  <a:pt x="673100" y="349250"/>
                </a:lnTo>
                <a:lnTo>
                  <a:pt x="520700" y="0"/>
                </a:lnTo>
                <a:lnTo>
                  <a:pt x="0" y="6350"/>
                </a:lnTo>
                <a:close/>
              </a:path>
            </a:pathLst>
          </a:custGeom>
          <a:solidFill>
            <a:srgbClr val="EC25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5" name="任意多边形 44"/>
          <p:cNvSpPr>
            <a:spLocks noChangeArrowheads="1"/>
          </p:cNvSpPr>
          <p:nvPr/>
        </p:nvSpPr>
        <p:spPr bwMode="auto">
          <a:xfrm>
            <a:off x="3263900" y="4921250"/>
            <a:ext cx="1187450" cy="222250"/>
          </a:xfrm>
          <a:custGeom>
            <a:avLst/>
            <a:gdLst>
              <a:gd name="T0" fmla="*/ 0 w 1136650"/>
              <a:gd name="T1" fmla="*/ 0 h 222250"/>
              <a:gd name="T2" fmla="*/ 101600 w 1136650"/>
              <a:gd name="T3" fmla="*/ 222250 h 222250"/>
              <a:gd name="T4" fmla="*/ 1136650 w 1136650"/>
              <a:gd name="T5" fmla="*/ 222250 h 222250"/>
              <a:gd name="T6" fmla="*/ 0 w 1136650"/>
              <a:gd name="T7" fmla="*/ 0 h 222250"/>
              <a:gd name="T8" fmla="*/ 0 60000 65536"/>
              <a:gd name="T9" fmla="*/ 0 60000 65536"/>
              <a:gd name="T10" fmla="*/ 0 60000 65536"/>
              <a:gd name="T11" fmla="*/ 0 60000 65536"/>
              <a:gd name="T12" fmla="*/ 0 w 1136650"/>
              <a:gd name="T13" fmla="*/ 0 h 222250"/>
              <a:gd name="T14" fmla="*/ 1136650 w 1136650"/>
              <a:gd name="T15" fmla="*/ 222250 h 222250"/>
            </a:gdLst>
            <a:ahLst/>
            <a:cxnLst>
              <a:cxn ang="T8">
                <a:pos x="T0" y="T1"/>
              </a:cxn>
              <a:cxn ang="T9">
                <a:pos x="T2" y="T3"/>
              </a:cxn>
              <a:cxn ang="T10">
                <a:pos x="T4" y="T5"/>
              </a:cxn>
              <a:cxn ang="T11">
                <a:pos x="T6" y="T7"/>
              </a:cxn>
            </a:cxnLst>
            <a:rect l="T12" t="T13" r="T14" b="T15"/>
            <a:pathLst>
              <a:path w="1136650" h="222250">
                <a:moveTo>
                  <a:pt x="0" y="0"/>
                </a:moveTo>
                <a:lnTo>
                  <a:pt x="101600" y="222250"/>
                </a:lnTo>
                <a:lnTo>
                  <a:pt x="1136650" y="222250"/>
                </a:lnTo>
                <a:lnTo>
                  <a:pt x="0" y="0"/>
                </a:lnTo>
                <a:close/>
              </a:path>
            </a:pathLst>
          </a:custGeom>
          <a:solidFill>
            <a:srgbClr val="E9413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任意多边形 38"/>
          <p:cNvSpPr>
            <a:spLocks noChangeArrowheads="1"/>
          </p:cNvSpPr>
          <p:nvPr/>
        </p:nvSpPr>
        <p:spPr bwMode="auto">
          <a:xfrm>
            <a:off x="3302000" y="4546600"/>
            <a:ext cx="984250" cy="400050"/>
          </a:xfrm>
          <a:custGeom>
            <a:avLst/>
            <a:gdLst>
              <a:gd name="T0" fmla="*/ 298450 w 984250"/>
              <a:gd name="T1" fmla="*/ 0 h 374650"/>
              <a:gd name="T2" fmla="*/ 0 w 984250"/>
              <a:gd name="T3" fmla="*/ 374650 h 374650"/>
              <a:gd name="T4" fmla="*/ 984250 w 984250"/>
              <a:gd name="T5" fmla="*/ 266700 h 374650"/>
              <a:gd name="T6" fmla="*/ 298450 w 984250"/>
              <a:gd name="T7" fmla="*/ 0 h 374650"/>
              <a:gd name="T8" fmla="*/ 0 60000 65536"/>
              <a:gd name="T9" fmla="*/ 0 60000 65536"/>
              <a:gd name="T10" fmla="*/ 0 60000 65536"/>
              <a:gd name="T11" fmla="*/ 0 60000 65536"/>
              <a:gd name="T12" fmla="*/ 0 w 984250"/>
              <a:gd name="T13" fmla="*/ 0 h 374650"/>
              <a:gd name="T14" fmla="*/ 984250 w 984250"/>
              <a:gd name="T15" fmla="*/ 374650 h 374650"/>
            </a:gdLst>
            <a:ahLst/>
            <a:cxnLst>
              <a:cxn ang="T8">
                <a:pos x="T0" y="T1"/>
              </a:cxn>
              <a:cxn ang="T9">
                <a:pos x="T2" y="T3"/>
              </a:cxn>
              <a:cxn ang="T10">
                <a:pos x="T4" y="T5"/>
              </a:cxn>
              <a:cxn ang="T11">
                <a:pos x="T6" y="T7"/>
              </a:cxn>
            </a:cxnLst>
            <a:rect l="T12" t="T13" r="T14" b="T15"/>
            <a:pathLst>
              <a:path w="984250" h="374650">
                <a:moveTo>
                  <a:pt x="298450" y="0"/>
                </a:moveTo>
                <a:lnTo>
                  <a:pt x="0" y="374650"/>
                </a:lnTo>
                <a:lnTo>
                  <a:pt x="984250" y="266700"/>
                </a:lnTo>
                <a:lnTo>
                  <a:pt x="298450" y="0"/>
                </a:lnTo>
                <a:close/>
              </a:path>
            </a:pathLst>
          </a:custGeom>
          <a:solidFill>
            <a:srgbClr val="E7274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7" name="任意多边形 27"/>
          <p:cNvSpPr>
            <a:spLocks noChangeArrowheads="1"/>
          </p:cNvSpPr>
          <p:nvPr/>
        </p:nvSpPr>
        <p:spPr bwMode="auto">
          <a:xfrm>
            <a:off x="3060700" y="2228850"/>
            <a:ext cx="679450" cy="514350"/>
          </a:xfrm>
          <a:custGeom>
            <a:avLst/>
            <a:gdLst>
              <a:gd name="T0" fmla="*/ 0 w 622300"/>
              <a:gd name="T1" fmla="*/ 0 h 457200"/>
              <a:gd name="T2" fmla="*/ 412750 w 622300"/>
              <a:gd name="T3" fmla="*/ 76200 h 457200"/>
              <a:gd name="T4" fmla="*/ 622300 w 622300"/>
              <a:gd name="T5" fmla="*/ 457200 h 457200"/>
              <a:gd name="T6" fmla="*/ 0 w 622300"/>
              <a:gd name="T7" fmla="*/ 0 h 457200"/>
              <a:gd name="T8" fmla="*/ 0 60000 65536"/>
              <a:gd name="T9" fmla="*/ 0 60000 65536"/>
              <a:gd name="T10" fmla="*/ 0 60000 65536"/>
              <a:gd name="T11" fmla="*/ 0 60000 65536"/>
              <a:gd name="T12" fmla="*/ 0 w 622300"/>
              <a:gd name="T13" fmla="*/ 0 h 457200"/>
              <a:gd name="T14" fmla="*/ 622300 w 622300"/>
              <a:gd name="T15" fmla="*/ 457200 h 457200"/>
            </a:gdLst>
            <a:ahLst/>
            <a:cxnLst>
              <a:cxn ang="T8">
                <a:pos x="T0" y="T1"/>
              </a:cxn>
              <a:cxn ang="T9">
                <a:pos x="T2" y="T3"/>
              </a:cxn>
              <a:cxn ang="T10">
                <a:pos x="T4" y="T5"/>
              </a:cxn>
              <a:cxn ang="T11">
                <a:pos x="T6" y="T7"/>
              </a:cxn>
            </a:cxnLst>
            <a:rect l="T12" t="T13" r="T14" b="T15"/>
            <a:pathLst>
              <a:path w="622300" h="457200">
                <a:moveTo>
                  <a:pt x="0" y="0"/>
                </a:moveTo>
                <a:lnTo>
                  <a:pt x="412750" y="76200"/>
                </a:lnTo>
                <a:lnTo>
                  <a:pt x="622300" y="457200"/>
                </a:lnTo>
                <a:lnTo>
                  <a:pt x="0" y="0"/>
                </a:lnTo>
                <a:close/>
              </a:path>
            </a:pathLst>
          </a:custGeom>
          <a:solidFill>
            <a:srgbClr val="4DC5C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任意多边形 23"/>
          <p:cNvSpPr>
            <a:spLocks noChangeArrowheads="1"/>
          </p:cNvSpPr>
          <p:nvPr/>
        </p:nvSpPr>
        <p:spPr bwMode="auto">
          <a:xfrm>
            <a:off x="3067050" y="1492250"/>
            <a:ext cx="615950" cy="749300"/>
          </a:xfrm>
          <a:custGeom>
            <a:avLst/>
            <a:gdLst>
              <a:gd name="T0" fmla="*/ 25400 w 590550"/>
              <a:gd name="T1" fmla="*/ 0 h 704850"/>
              <a:gd name="T2" fmla="*/ 590550 w 590550"/>
              <a:gd name="T3" fmla="*/ 76200 h 704850"/>
              <a:gd name="T4" fmla="*/ 0 w 590550"/>
              <a:gd name="T5" fmla="*/ 704850 h 704850"/>
              <a:gd name="T6" fmla="*/ 25400 w 590550"/>
              <a:gd name="T7" fmla="*/ 0 h 704850"/>
              <a:gd name="T8" fmla="*/ 0 60000 65536"/>
              <a:gd name="T9" fmla="*/ 0 60000 65536"/>
              <a:gd name="T10" fmla="*/ 0 60000 65536"/>
              <a:gd name="T11" fmla="*/ 0 60000 65536"/>
              <a:gd name="T12" fmla="*/ 0 w 590550"/>
              <a:gd name="T13" fmla="*/ 0 h 704850"/>
              <a:gd name="T14" fmla="*/ 590550 w 590550"/>
              <a:gd name="T15" fmla="*/ 704850 h 704850"/>
            </a:gdLst>
            <a:ahLst/>
            <a:cxnLst>
              <a:cxn ang="T8">
                <a:pos x="T0" y="T1"/>
              </a:cxn>
              <a:cxn ang="T9">
                <a:pos x="T2" y="T3"/>
              </a:cxn>
              <a:cxn ang="T10">
                <a:pos x="T4" y="T5"/>
              </a:cxn>
              <a:cxn ang="T11">
                <a:pos x="T6" y="T7"/>
              </a:cxn>
            </a:cxnLst>
            <a:rect l="T12" t="T13" r="T14" b="T15"/>
            <a:pathLst>
              <a:path w="590550" h="704850">
                <a:moveTo>
                  <a:pt x="25400" y="0"/>
                </a:moveTo>
                <a:lnTo>
                  <a:pt x="590550" y="76200"/>
                </a:lnTo>
                <a:lnTo>
                  <a:pt x="0" y="704850"/>
                </a:lnTo>
                <a:lnTo>
                  <a:pt x="25400" y="0"/>
                </a:lnTo>
                <a:close/>
              </a:path>
            </a:pathLst>
          </a:custGeom>
          <a:solidFill>
            <a:srgbClr val="17B7D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9" name="任意多边形 22"/>
          <p:cNvSpPr>
            <a:spLocks noChangeArrowheads="1"/>
          </p:cNvSpPr>
          <p:nvPr/>
        </p:nvSpPr>
        <p:spPr bwMode="auto">
          <a:xfrm>
            <a:off x="3079750" y="1250950"/>
            <a:ext cx="590550" cy="330200"/>
          </a:xfrm>
          <a:custGeom>
            <a:avLst/>
            <a:gdLst>
              <a:gd name="T0" fmla="*/ 0 w 590550"/>
              <a:gd name="T1" fmla="*/ 279400 h 330200"/>
              <a:gd name="T2" fmla="*/ 482600 w 590550"/>
              <a:gd name="T3" fmla="*/ 0 h 330200"/>
              <a:gd name="T4" fmla="*/ 590550 w 590550"/>
              <a:gd name="T5" fmla="*/ 330200 h 330200"/>
              <a:gd name="T6" fmla="*/ 0 w 590550"/>
              <a:gd name="T7" fmla="*/ 279400 h 330200"/>
              <a:gd name="T8" fmla="*/ 0 60000 65536"/>
              <a:gd name="T9" fmla="*/ 0 60000 65536"/>
              <a:gd name="T10" fmla="*/ 0 60000 65536"/>
              <a:gd name="T11" fmla="*/ 0 60000 65536"/>
              <a:gd name="T12" fmla="*/ 0 w 590550"/>
              <a:gd name="T13" fmla="*/ 0 h 330200"/>
              <a:gd name="T14" fmla="*/ 590550 w 590550"/>
              <a:gd name="T15" fmla="*/ 330200 h 330200"/>
            </a:gdLst>
            <a:ahLst/>
            <a:cxnLst>
              <a:cxn ang="T8">
                <a:pos x="T0" y="T1"/>
              </a:cxn>
              <a:cxn ang="T9">
                <a:pos x="T2" y="T3"/>
              </a:cxn>
              <a:cxn ang="T10">
                <a:pos x="T4" y="T5"/>
              </a:cxn>
              <a:cxn ang="T11">
                <a:pos x="T6" y="T7"/>
              </a:cxn>
            </a:cxnLst>
            <a:rect l="T12" t="T13" r="T14" b="T15"/>
            <a:pathLst>
              <a:path w="590550" h="330200">
                <a:moveTo>
                  <a:pt x="0" y="279400"/>
                </a:moveTo>
                <a:lnTo>
                  <a:pt x="482600" y="0"/>
                </a:lnTo>
                <a:lnTo>
                  <a:pt x="590550" y="330200"/>
                </a:lnTo>
                <a:lnTo>
                  <a:pt x="0" y="279400"/>
                </a:lnTo>
                <a:close/>
              </a:path>
            </a:pathLst>
          </a:custGeom>
          <a:solidFill>
            <a:srgbClr val="57C8E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0" name="任意多边形 45"/>
          <p:cNvSpPr>
            <a:spLocks noChangeArrowheads="1"/>
          </p:cNvSpPr>
          <p:nvPr/>
        </p:nvSpPr>
        <p:spPr bwMode="auto">
          <a:xfrm>
            <a:off x="3251200" y="4927600"/>
            <a:ext cx="177800" cy="228600"/>
          </a:xfrm>
          <a:custGeom>
            <a:avLst/>
            <a:gdLst>
              <a:gd name="T0" fmla="*/ 50800 w 177800"/>
              <a:gd name="T1" fmla="*/ 0 h 228600"/>
              <a:gd name="T2" fmla="*/ 0 w 177800"/>
              <a:gd name="T3" fmla="*/ 228600 h 228600"/>
              <a:gd name="T4" fmla="*/ 177800 w 177800"/>
              <a:gd name="T5" fmla="*/ 228600 h 228600"/>
              <a:gd name="T6" fmla="*/ 50800 w 177800"/>
              <a:gd name="T7" fmla="*/ 0 h 228600"/>
              <a:gd name="T8" fmla="*/ 0 60000 65536"/>
              <a:gd name="T9" fmla="*/ 0 60000 65536"/>
              <a:gd name="T10" fmla="*/ 0 60000 65536"/>
              <a:gd name="T11" fmla="*/ 0 60000 65536"/>
              <a:gd name="T12" fmla="*/ 0 w 177800"/>
              <a:gd name="T13" fmla="*/ 0 h 228600"/>
              <a:gd name="T14" fmla="*/ 177800 w 177800"/>
              <a:gd name="T15" fmla="*/ 228600 h 228600"/>
            </a:gdLst>
            <a:ahLst/>
            <a:cxnLst>
              <a:cxn ang="T8">
                <a:pos x="T0" y="T1"/>
              </a:cxn>
              <a:cxn ang="T9">
                <a:pos x="T2" y="T3"/>
              </a:cxn>
              <a:cxn ang="T10">
                <a:pos x="T4" y="T5"/>
              </a:cxn>
              <a:cxn ang="T11">
                <a:pos x="T6" y="T7"/>
              </a:cxn>
            </a:cxnLst>
            <a:rect l="T12" t="T13" r="T14" b="T15"/>
            <a:pathLst>
              <a:path w="177800" h="228600">
                <a:moveTo>
                  <a:pt x="50800" y="0"/>
                </a:moveTo>
                <a:lnTo>
                  <a:pt x="0" y="228600"/>
                </a:lnTo>
                <a:lnTo>
                  <a:pt x="177800" y="228600"/>
                </a:lnTo>
                <a:lnTo>
                  <a:pt x="50800" y="0"/>
                </a:lnTo>
                <a:close/>
              </a:path>
            </a:pathLst>
          </a:custGeom>
          <a:solidFill>
            <a:srgbClr val="EB632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任意多边形 10"/>
          <p:cNvSpPr>
            <a:spLocks noChangeArrowheads="1"/>
          </p:cNvSpPr>
          <p:nvPr/>
        </p:nvSpPr>
        <p:spPr bwMode="auto">
          <a:xfrm>
            <a:off x="2106613" y="-44450"/>
            <a:ext cx="325437" cy="723900"/>
          </a:xfrm>
          <a:custGeom>
            <a:avLst/>
            <a:gdLst>
              <a:gd name="T0" fmla="*/ 20272 w 325072"/>
              <a:gd name="T1" fmla="*/ 0 h 723900"/>
              <a:gd name="T2" fmla="*/ 102822 w 325072"/>
              <a:gd name="T3" fmla="*/ 19050 h 723900"/>
              <a:gd name="T4" fmla="*/ 325072 w 325072"/>
              <a:gd name="T5" fmla="*/ 723900 h 723900"/>
              <a:gd name="T6" fmla="*/ 1222 w 325072"/>
              <a:gd name="T7" fmla="*/ 565150 h 723900"/>
              <a:gd name="T8" fmla="*/ 20272 w 325072"/>
              <a:gd name="T9" fmla="*/ 0 h 723900"/>
              <a:gd name="T10" fmla="*/ 0 60000 65536"/>
              <a:gd name="T11" fmla="*/ 0 60000 65536"/>
              <a:gd name="T12" fmla="*/ 0 60000 65536"/>
              <a:gd name="T13" fmla="*/ 0 60000 65536"/>
              <a:gd name="T14" fmla="*/ 0 60000 65536"/>
              <a:gd name="T15" fmla="*/ 0 w 325072"/>
              <a:gd name="T16" fmla="*/ 0 h 723900"/>
              <a:gd name="T17" fmla="*/ 325072 w 325072"/>
              <a:gd name="T18" fmla="*/ 723900 h 723900"/>
            </a:gdLst>
            <a:ahLst/>
            <a:cxnLst>
              <a:cxn ang="T10">
                <a:pos x="T0" y="T1"/>
              </a:cxn>
              <a:cxn ang="T11">
                <a:pos x="T2" y="T3"/>
              </a:cxn>
              <a:cxn ang="T12">
                <a:pos x="T4" y="T5"/>
              </a:cxn>
              <a:cxn ang="T13">
                <a:pos x="T6" y="T7"/>
              </a:cxn>
              <a:cxn ang="T14">
                <a:pos x="T8" y="T9"/>
              </a:cxn>
            </a:cxnLst>
            <a:rect l="T15" t="T16" r="T17" b="T18"/>
            <a:pathLst>
              <a:path w="325072" h="723900">
                <a:moveTo>
                  <a:pt x="20272" y="0"/>
                </a:moveTo>
                <a:lnTo>
                  <a:pt x="102822" y="19050"/>
                </a:lnTo>
                <a:lnTo>
                  <a:pt x="325072" y="723900"/>
                </a:lnTo>
                <a:lnTo>
                  <a:pt x="1222" y="565150"/>
                </a:lnTo>
                <a:cubicBezTo>
                  <a:pt x="-895" y="372533"/>
                  <a:pt x="-3011" y="179917"/>
                  <a:pt x="20272" y="0"/>
                </a:cubicBezTo>
                <a:close/>
              </a:path>
            </a:pathLst>
          </a:custGeom>
          <a:solidFill>
            <a:srgbClr val="21BDE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2" name="任意多边形 5"/>
          <p:cNvSpPr>
            <a:spLocks noChangeArrowheads="1"/>
          </p:cNvSpPr>
          <p:nvPr/>
        </p:nvSpPr>
        <p:spPr bwMode="auto">
          <a:xfrm>
            <a:off x="1758950" y="6350"/>
            <a:ext cx="1835150" cy="5156200"/>
          </a:xfrm>
          <a:custGeom>
            <a:avLst/>
            <a:gdLst>
              <a:gd name="T0" fmla="*/ 0 w 1835150"/>
              <a:gd name="T1" fmla="*/ 0 h 5156200"/>
              <a:gd name="T2" fmla="*/ 374650 w 1835150"/>
              <a:gd name="T3" fmla="*/ 508000 h 5156200"/>
              <a:gd name="T4" fmla="*/ 1339850 w 1835150"/>
              <a:gd name="T5" fmla="*/ 1555750 h 5156200"/>
              <a:gd name="T6" fmla="*/ 1333500 w 1835150"/>
              <a:gd name="T7" fmla="*/ 2228850 h 5156200"/>
              <a:gd name="T8" fmla="*/ 1498600 w 1835150"/>
              <a:gd name="T9" fmla="*/ 3536950 h 5156200"/>
              <a:gd name="T10" fmla="*/ 1835150 w 1835150"/>
              <a:gd name="T11" fmla="*/ 4559300 h 5156200"/>
              <a:gd name="T12" fmla="*/ 1568450 w 1835150"/>
              <a:gd name="T13" fmla="*/ 4940300 h 5156200"/>
              <a:gd name="T14" fmla="*/ 1504950 w 1835150"/>
              <a:gd name="T15" fmla="*/ 5137150 h 5156200"/>
              <a:gd name="T16" fmla="*/ 12700 w 1835150"/>
              <a:gd name="T17" fmla="*/ 5156200 h 5156200"/>
              <a:gd name="T18" fmla="*/ 0 w 1835150"/>
              <a:gd name="T19" fmla="*/ 0 h 5156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35150"/>
              <a:gd name="T31" fmla="*/ 0 h 5156200"/>
              <a:gd name="T32" fmla="*/ 1835150 w 1835150"/>
              <a:gd name="T33" fmla="*/ 5156200 h 51562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35150" h="5156200">
                <a:moveTo>
                  <a:pt x="0" y="0"/>
                </a:moveTo>
                <a:lnTo>
                  <a:pt x="374650" y="508000"/>
                </a:lnTo>
                <a:lnTo>
                  <a:pt x="1339850" y="1555750"/>
                </a:lnTo>
                <a:cubicBezTo>
                  <a:pt x="1337733" y="1780117"/>
                  <a:pt x="1335617" y="2004483"/>
                  <a:pt x="1333500" y="2228850"/>
                </a:cubicBezTo>
                <a:lnTo>
                  <a:pt x="1498600" y="3536950"/>
                </a:lnTo>
                <a:lnTo>
                  <a:pt x="1835150" y="4559300"/>
                </a:lnTo>
                <a:lnTo>
                  <a:pt x="1568450" y="4940300"/>
                </a:lnTo>
                <a:lnTo>
                  <a:pt x="1504950" y="5137150"/>
                </a:lnTo>
                <a:lnTo>
                  <a:pt x="12700" y="5156200"/>
                </a:lnTo>
                <a:cubicBezTo>
                  <a:pt x="8467" y="3437467"/>
                  <a:pt x="4233" y="1718733"/>
                  <a:pt x="0" y="0"/>
                </a:cubicBezTo>
                <a:close/>
              </a:path>
            </a:pathLst>
          </a:custGeom>
          <a:solidFill>
            <a:srgbClr val="1D9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3" name="任意多边形 8"/>
          <p:cNvSpPr>
            <a:spLocks noChangeArrowheads="1"/>
          </p:cNvSpPr>
          <p:nvPr/>
        </p:nvSpPr>
        <p:spPr bwMode="auto">
          <a:xfrm>
            <a:off x="1720850" y="-25400"/>
            <a:ext cx="400050" cy="520700"/>
          </a:xfrm>
          <a:custGeom>
            <a:avLst/>
            <a:gdLst>
              <a:gd name="T0" fmla="*/ 0 w 400050"/>
              <a:gd name="T1" fmla="*/ 0 h 501650"/>
              <a:gd name="T2" fmla="*/ 133350 w 400050"/>
              <a:gd name="T3" fmla="*/ 19050 h 501650"/>
              <a:gd name="T4" fmla="*/ 400050 w 400050"/>
              <a:gd name="T5" fmla="*/ 501650 h 501650"/>
              <a:gd name="T6" fmla="*/ 0 w 400050"/>
              <a:gd name="T7" fmla="*/ 0 h 501650"/>
              <a:gd name="T8" fmla="*/ 0 60000 65536"/>
              <a:gd name="T9" fmla="*/ 0 60000 65536"/>
              <a:gd name="T10" fmla="*/ 0 60000 65536"/>
              <a:gd name="T11" fmla="*/ 0 60000 65536"/>
              <a:gd name="T12" fmla="*/ 0 w 400050"/>
              <a:gd name="T13" fmla="*/ 0 h 501650"/>
              <a:gd name="T14" fmla="*/ 400050 w 400050"/>
              <a:gd name="T15" fmla="*/ 501650 h 501650"/>
            </a:gdLst>
            <a:ahLst/>
            <a:cxnLst>
              <a:cxn ang="T8">
                <a:pos x="T0" y="T1"/>
              </a:cxn>
              <a:cxn ang="T9">
                <a:pos x="T2" y="T3"/>
              </a:cxn>
              <a:cxn ang="T10">
                <a:pos x="T4" y="T5"/>
              </a:cxn>
              <a:cxn ang="T11">
                <a:pos x="T6" y="T7"/>
              </a:cxn>
            </a:cxnLst>
            <a:rect l="T12" t="T13" r="T14" b="T15"/>
            <a:pathLst>
              <a:path w="400050" h="501650">
                <a:moveTo>
                  <a:pt x="0" y="0"/>
                </a:moveTo>
                <a:lnTo>
                  <a:pt x="133350" y="19050"/>
                </a:lnTo>
                <a:lnTo>
                  <a:pt x="400050" y="501650"/>
                </a:lnTo>
                <a:lnTo>
                  <a:pt x="0" y="0"/>
                </a:lnTo>
                <a:close/>
              </a:path>
            </a:pathLst>
          </a:custGeom>
          <a:solidFill>
            <a:srgbClr val="0AAEC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4" name="任意多边形 9"/>
          <p:cNvSpPr>
            <a:spLocks noChangeArrowheads="1"/>
          </p:cNvSpPr>
          <p:nvPr/>
        </p:nvSpPr>
        <p:spPr bwMode="auto">
          <a:xfrm>
            <a:off x="1847850" y="-12700"/>
            <a:ext cx="279400" cy="514350"/>
          </a:xfrm>
          <a:custGeom>
            <a:avLst/>
            <a:gdLst>
              <a:gd name="T0" fmla="*/ 0 w 279400"/>
              <a:gd name="T1" fmla="*/ 12700 h 514350"/>
              <a:gd name="T2" fmla="*/ 279400 w 279400"/>
              <a:gd name="T3" fmla="*/ 0 h 514350"/>
              <a:gd name="T4" fmla="*/ 273050 w 279400"/>
              <a:gd name="T5" fmla="*/ 514350 h 514350"/>
              <a:gd name="T6" fmla="*/ 0 w 279400"/>
              <a:gd name="T7" fmla="*/ 12700 h 514350"/>
              <a:gd name="T8" fmla="*/ 0 60000 65536"/>
              <a:gd name="T9" fmla="*/ 0 60000 65536"/>
              <a:gd name="T10" fmla="*/ 0 60000 65536"/>
              <a:gd name="T11" fmla="*/ 0 60000 65536"/>
              <a:gd name="T12" fmla="*/ 0 w 279400"/>
              <a:gd name="T13" fmla="*/ 0 h 514350"/>
              <a:gd name="T14" fmla="*/ 279400 w 279400"/>
              <a:gd name="T15" fmla="*/ 514350 h 514350"/>
            </a:gdLst>
            <a:ahLst/>
            <a:cxnLst>
              <a:cxn ang="T8">
                <a:pos x="T0" y="T1"/>
              </a:cxn>
              <a:cxn ang="T9">
                <a:pos x="T2" y="T3"/>
              </a:cxn>
              <a:cxn ang="T10">
                <a:pos x="T4" y="T5"/>
              </a:cxn>
              <a:cxn ang="T11">
                <a:pos x="T6" y="T7"/>
              </a:cxn>
            </a:cxnLst>
            <a:rect l="T12" t="T13" r="T14" b="T15"/>
            <a:pathLst>
              <a:path w="279400" h="514350">
                <a:moveTo>
                  <a:pt x="0" y="12700"/>
                </a:moveTo>
                <a:lnTo>
                  <a:pt x="279400" y="0"/>
                </a:lnTo>
                <a:cubicBezTo>
                  <a:pt x="277283" y="171450"/>
                  <a:pt x="275167" y="342900"/>
                  <a:pt x="273050" y="514350"/>
                </a:cubicBezTo>
                <a:lnTo>
                  <a:pt x="0" y="12700"/>
                </a:lnTo>
                <a:close/>
              </a:path>
            </a:pathLst>
          </a:custGeom>
          <a:solidFill>
            <a:srgbClr val="17B7D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任意多边形 11"/>
          <p:cNvSpPr>
            <a:spLocks noChangeArrowheads="1"/>
          </p:cNvSpPr>
          <p:nvPr/>
        </p:nvSpPr>
        <p:spPr bwMode="auto">
          <a:xfrm>
            <a:off x="2133600" y="527050"/>
            <a:ext cx="368300" cy="184150"/>
          </a:xfrm>
          <a:custGeom>
            <a:avLst/>
            <a:gdLst>
              <a:gd name="T0" fmla="*/ 0 w 368300"/>
              <a:gd name="T1" fmla="*/ 0 h 184150"/>
              <a:gd name="T2" fmla="*/ 368300 w 368300"/>
              <a:gd name="T3" fmla="*/ 177800 h 184150"/>
              <a:gd name="T4" fmla="*/ 152400 w 368300"/>
              <a:gd name="T5" fmla="*/ 184150 h 184150"/>
              <a:gd name="T6" fmla="*/ 0 w 368300"/>
              <a:gd name="T7" fmla="*/ 0 h 184150"/>
              <a:gd name="T8" fmla="*/ 0 60000 65536"/>
              <a:gd name="T9" fmla="*/ 0 60000 65536"/>
              <a:gd name="T10" fmla="*/ 0 60000 65536"/>
              <a:gd name="T11" fmla="*/ 0 60000 65536"/>
              <a:gd name="T12" fmla="*/ 0 w 368300"/>
              <a:gd name="T13" fmla="*/ 0 h 184150"/>
              <a:gd name="T14" fmla="*/ 368300 w 368300"/>
              <a:gd name="T15" fmla="*/ 184150 h 184150"/>
            </a:gdLst>
            <a:ahLst/>
            <a:cxnLst>
              <a:cxn ang="T8">
                <a:pos x="T0" y="T1"/>
              </a:cxn>
              <a:cxn ang="T9">
                <a:pos x="T2" y="T3"/>
              </a:cxn>
              <a:cxn ang="T10">
                <a:pos x="T4" y="T5"/>
              </a:cxn>
              <a:cxn ang="T11">
                <a:pos x="T6" y="T7"/>
              </a:cxn>
            </a:cxnLst>
            <a:rect l="T12" t="T13" r="T14" b="T15"/>
            <a:pathLst>
              <a:path w="368300" h="184150">
                <a:moveTo>
                  <a:pt x="0" y="0"/>
                </a:moveTo>
                <a:lnTo>
                  <a:pt x="368300" y="177800"/>
                </a:lnTo>
                <a:lnTo>
                  <a:pt x="152400" y="184150"/>
                </a:lnTo>
                <a:lnTo>
                  <a:pt x="0" y="0"/>
                </a:lnTo>
                <a:close/>
              </a:path>
            </a:pathLst>
          </a:custGeom>
          <a:solidFill>
            <a:srgbClr val="2198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6" name="任意多边形 12"/>
          <p:cNvSpPr>
            <a:spLocks noChangeArrowheads="1"/>
          </p:cNvSpPr>
          <p:nvPr/>
        </p:nvSpPr>
        <p:spPr bwMode="auto">
          <a:xfrm>
            <a:off x="2279650" y="692150"/>
            <a:ext cx="958850" cy="876300"/>
          </a:xfrm>
          <a:custGeom>
            <a:avLst/>
            <a:gdLst>
              <a:gd name="T0" fmla="*/ 222250 w 958850"/>
              <a:gd name="T1" fmla="*/ 0 h 876300"/>
              <a:gd name="T2" fmla="*/ 958850 w 958850"/>
              <a:gd name="T3" fmla="*/ 393700 h 876300"/>
              <a:gd name="T4" fmla="*/ 819150 w 958850"/>
              <a:gd name="T5" fmla="*/ 876300 h 876300"/>
              <a:gd name="T6" fmla="*/ 0 w 958850"/>
              <a:gd name="T7" fmla="*/ 6350 h 876300"/>
              <a:gd name="T8" fmla="*/ 222250 w 958850"/>
              <a:gd name="T9" fmla="*/ 0 h 876300"/>
              <a:gd name="T10" fmla="*/ 0 60000 65536"/>
              <a:gd name="T11" fmla="*/ 0 60000 65536"/>
              <a:gd name="T12" fmla="*/ 0 60000 65536"/>
              <a:gd name="T13" fmla="*/ 0 60000 65536"/>
              <a:gd name="T14" fmla="*/ 0 60000 65536"/>
              <a:gd name="T15" fmla="*/ 0 w 958850"/>
              <a:gd name="T16" fmla="*/ 0 h 876300"/>
              <a:gd name="T17" fmla="*/ 958850 w 958850"/>
              <a:gd name="T18" fmla="*/ 876300 h 876300"/>
            </a:gdLst>
            <a:ahLst/>
            <a:cxnLst>
              <a:cxn ang="T10">
                <a:pos x="T0" y="T1"/>
              </a:cxn>
              <a:cxn ang="T11">
                <a:pos x="T2" y="T3"/>
              </a:cxn>
              <a:cxn ang="T12">
                <a:pos x="T4" y="T5"/>
              </a:cxn>
              <a:cxn ang="T13">
                <a:pos x="T6" y="T7"/>
              </a:cxn>
              <a:cxn ang="T14">
                <a:pos x="T8" y="T9"/>
              </a:cxn>
            </a:cxnLst>
            <a:rect l="T15" t="T16" r="T17" b="T18"/>
            <a:pathLst>
              <a:path w="958850" h="876300">
                <a:moveTo>
                  <a:pt x="222250" y="0"/>
                </a:moveTo>
                <a:lnTo>
                  <a:pt x="958850" y="393700"/>
                </a:lnTo>
                <a:lnTo>
                  <a:pt x="819150" y="876300"/>
                </a:lnTo>
                <a:lnTo>
                  <a:pt x="0" y="6350"/>
                </a:lnTo>
                <a:lnTo>
                  <a:pt x="222250" y="0"/>
                </a:lnTo>
                <a:close/>
              </a:path>
            </a:pathLst>
          </a:custGeom>
          <a:solidFill>
            <a:srgbClr val="17B7D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7" name="任意多边形 13"/>
          <p:cNvSpPr>
            <a:spLocks noChangeArrowheads="1"/>
          </p:cNvSpPr>
          <p:nvPr/>
        </p:nvSpPr>
        <p:spPr bwMode="auto">
          <a:xfrm>
            <a:off x="3086100" y="1092200"/>
            <a:ext cx="482600" cy="444500"/>
          </a:xfrm>
          <a:custGeom>
            <a:avLst/>
            <a:gdLst>
              <a:gd name="T0" fmla="*/ 146050 w 482600"/>
              <a:gd name="T1" fmla="*/ 0 h 444500"/>
              <a:gd name="T2" fmla="*/ 482600 w 482600"/>
              <a:gd name="T3" fmla="*/ 171450 h 444500"/>
              <a:gd name="T4" fmla="*/ 0 w 482600"/>
              <a:gd name="T5" fmla="*/ 444500 h 444500"/>
              <a:gd name="T6" fmla="*/ 146050 w 482600"/>
              <a:gd name="T7" fmla="*/ 0 h 444500"/>
              <a:gd name="T8" fmla="*/ 0 60000 65536"/>
              <a:gd name="T9" fmla="*/ 0 60000 65536"/>
              <a:gd name="T10" fmla="*/ 0 60000 65536"/>
              <a:gd name="T11" fmla="*/ 0 60000 65536"/>
              <a:gd name="T12" fmla="*/ 0 w 482600"/>
              <a:gd name="T13" fmla="*/ 0 h 444500"/>
              <a:gd name="T14" fmla="*/ 482600 w 482600"/>
              <a:gd name="T15" fmla="*/ 444500 h 444500"/>
            </a:gdLst>
            <a:ahLst/>
            <a:cxnLst>
              <a:cxn ang="T8">
                <a:pos x="T0" y="T1"/>
              </a:cxn>
              <a:cxn ang="T9">
                <a:pos x="T2" y="T3"/>
              </a:cxn>
              <a:cxn ang="T10">
                <a:pos x="T4" y="T5"/>
              </a:cxn>
              <a:cxn ang="T11">
                <a:pos x="T6" y="T7"/>
              </a:cxn>
            </a:cxnLst>
            <a:rect l="T12" t="T13" r="T14" b="T15"/>
            <a:pathLst>
              <a:path w="482600" h="444500">
                <a:moveTo>
                  <a:pt x="146050" y="0"/>
                </a:moveTo>
                <a:lnTo>
                  <a:pt x="482600" y="171450"/>
                </a:lnTo>
                <a:lnTo>
                  <a:pt x="0" y="444500"/>
                </a:lnTo>
                <a:lnTo>
                  <a:pt x="146050" y="0"/>
                </a:lnTo>
                <a:close/>
              </a:path>
            </a:pathLst>
          </a:custGeom>
          <a:solidFill>
            <a:srgbClr val="1BA8B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任意多边形 15"/>
          <p:cNvSpPr>
            <a:spLocks noChangeArrowheads="1"/>
          </p:cNvSpPr>
          <p:nvPr/>
        </p:nvSpPr>
        <p:spPr bwMode="auto">
          <a:xfrm>
            <a:off x="2203450" y="-88900"/>
            <a:ext cx="400050" cy="349250"/>
          </a:xfrm>
          <a:custGeom>
            <a:avLst/>
            <a:gdLst>
              <a:gd name="T0" fmla="*/ 0 w 400050"/>
              <a:gd name="T1" fmla="*/ 50800 h 349250"/>
              <a:gd name="T2" fmla="*/ 215900 w 400050"/>
              <a:gd name="T3" fmla="*/ 0 h 349250"/>
              <a:gd name="T4" fmla="*/ 400050 w 400050"/>
              <a:gd name="T5" fmla="*/ 190500 h 349250"/>
              <a:gd name="T6" fmla="*/ 95250 w 400050"/>
              <a:gd name="T7" fmla="*/ 349250 h 349250"/>
              <a:gd name="T8" fmla="*/ 0 w 400050"/>
              <a:gd name="T9" fmla="*/ 50800 h 349250"/>
              <a:gd name="T10" fmla="*/ 0 60000 65536"/>
              <a:gd name="T11" fmla="*/ 0 60000 65536"/>
              <a:gd name="T12" fmla="*/ 0 60000 65536"/>
              <a:gd name="T13" fmla="*/ 0 60000 65536"/>
              <a:gd name="T14" fmla="*/ 0 60000 65536"/>
              <a:gd name="T15" fmla="*/ 0 w 400050"/>
              <a:gd name="T16" fmla="*/ 0 h 349250"/>
              <a:gd name="T17" fmla="*/ 400050 w 400050"/>
              <a:gd name="T18" fmla="*/ 349250 h 349250"/>
            </a:gdLst>
            <a:ahLst/>
            <a:cxnLst>
              <a:cxn ang="T10">
                <a:pos x="T0" y="T1"/>
              </a:cxn>
              <a:cxn ang="T11">
                <a:pos x="T2" y="T3"/>
              </a:cxn>
              <a:cxn ang="T12">
                <a:pos x="T4" y="T5"/>
              </a:cxn>
              <a:cxn ang="T13">
                <a:pos x="T6" y="T7"/>
              </a:cxn>
              <a:cxn ang="T14">
                <a:pos x="T8" y="T9"/>
              </a:cxn>
            </a:cxnLst>
            <a:rect l="T15" t="T16" r="T17" b="T18"/>
            <a:pathLst>
              <a:path w="400050" h="349250">
                <a:moveTo>
                  <a:pt x="0" y="50800"/>
                </a:moveTo>
                <a:lnTo>
                  <a:pt x="215900" y="0"/>
                </a:lnTo>
                <a:lnTo>
                  <a:pt x="400050" y="190500"/>
                </a:lnTo>
                <a:lnTo>
                  <a:pt x="95250" y="349250"/>
                </a:lnTo>
                <a:lnTo>
                  <a:pt x="0" y="50800"/>
                </a:lnTo>
                <a:close/>
              </a:path>
            </a:pathLst>
          </a:custGeom>
          <a:solidFill>
            <a:srgbClr val="69C7C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9" name="任意多边形 16"/>
          <p:cNvSpPr>
            <a:spLocks noChangeArrowheads="1"/>
          </p:cNvSpPr>
          <p:nvPr/>
        </p:nvSpPr>
        <p:spPr bwMode="auto">
          <a:xfrm>
            <a:off x="2292350" y="-152400"/>
            <a:ext cx="800100" cy="800100"/>
          </a:xfrm>
          <a:custGeom>
            <a:avLst/>
            <a:gdLst>
              <a:gd name="T0" fmla="*/ 0 w 762000"/>
              <a:gd name="T1" fmla="*/ 400050 h 800100"/>
              <a:gd name="T2" fmla="*/ 120650 w 762000"/>
              <a:gd name="T3" fmla="*/ 800100 h 800100"/>
              <a:gd name="T4" fmla="*/ 762000 w 762000"/>
              <a:gd name="T5" fmla="*/ 0 h 800100"/>
              <a:gd name="T6" fmla="*/ 463550 w 762000"/>
              <a:gd name="T7" fmla="*/ 152400 h 800100"/>
              <a:gd name="T8" fmla="*/ 0 w 762000"/>
              <a:gd name="T9" fmla="*/ 400050 h 800100"/>
              <a:gd name="T10" fmla="*/ 0 60000 65536"/>
              <a:gd name="T11" fmla="*/ 0 60000 65536"/>
              <a:gd name="T12" fmla="*/ 0 60000 65536"/>
              <a:gd name="T13" fmla="*/ 0 60000 65536"/>
              <a:gd name="T14" fmla="*/ 0 60000 65536"/>
              <a:gd name="T15" fmla="*/ 0 w 762000"/>
              <a:gd name="T16" fmla="*/ 0 h 800100"/>
              <a:gd name="T17" fmla="*/ 762000 w 762000"/>
              <a:gd name="T18" fmla="*/ 800100 h 800100"/>
            </a:gdLst>
            <a:ahLst/>
            <a:cxnLst>
              <a:cxn ang="T10">
                <a:pos x="T0" y="T1"/>
              </a:cxn>
              <a:cxn ang="T11">
                <a:pos x="T2" y="T3"/>
              </a:cxn>
              <a:cxn ang="T12">
                <a:pos x="T4" y="T5"/>
              </a:cxn>
              <a:cxn ang="T13">
                <a:pos x="T6" y="T7"/>
              </a:cxn>
              <a:cxn ang="T14">
                <a:pos x="T8" y="T9"/>
              </a:cxn>
            </a:cxnLst>
            <a:rect l="T15" t="T16" r="T17" b="T18"/>
            <a:pathLst>
              <a:path w="762000" h="800100">
                <a:moveTo>
                  <a:pt x="0" y="400050"/>
                </a:moveTo>
                <a:lnTo>
                  <a:pt x="120650" y="800100"/>
                </a:lnTo>
                <a:lnTo>
                  <a:pt x="762000" y="0"/>
                </a:lnTo>
                <a:lnTo>
                  <a:pt x="463550" y="152400"/>
                </a:lnTo>
                <a:lnTo>
                  <a:pt x="0" y="400050"/>
                </a:lnTo>
                <a:close/>
              </a:path>
            </a:pathLst>
          </a:custGeom>
          <a:solidFill>
            <a:srgbClr val="08A8C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任意多边形 26"/>
          <p:cNvSpPr>
            <a:spLocks noChangeArrowheads="1"/>
          </p:cNvSpPr>
          <p:nvPr/>
        </p:nvSpPr>
        <p:spPr bwMode="auto">
          <a:xfrm>
            <a:off x="3467100" y="1581150"/>
            <a:ext cx="222250" cy="1098550"/>
          </a:xfrm>
          <a:custGeom>
            <a:avLst/>
            <a:gdLst>
              <a:gd name="T0" fmla="*/ 190500 w 222250"/>
              <a:gd name="T1" fmla="*/ 0 h 1098550"/>
              <a:gd name="T2" fmla="*/ 0 w 222250"/>
              <a:gd name="T3" fmla="*/ 736600 h 1098550"/>
              <a:gd name="T4" fmla="*/ 222250 w 222250"/>
              <a:gd name="T5" fmla="*/ 1098550 h 1098550"/>
              <a:gd name="T6" fmla="*/ 190500 w 222250"/>
              <a:gd name="T7" fmla="*/ 0 h 1098550"/>
              <a:gd name="T8" fmla="*/ 0 60000 65536"/>
              <a:gd name="T9" fmla="*/ 0 60000 65536"/>
              <a:gd name="T10" fmla="*/ 0 60000 65536"/>
              <a:gd name="T11" fmla="*/ 0 60000 65536"/>
              <a:gd name="T12" fmla="*/ 0 w 222250"/>
              <a:gd name="T13" fmla="*/ 0 h 1098550"/>
              <a:gd name="T14" fmla="*/ 222250 w 222250"/>
              <a:gd name="T15" fmla="*/ 1098550 h 1098550"/>
            </a:gdLst>
            <a:ahLst/>
            <a:cxnLst>
              <a:cxn ang="T8">
                <a:pos x="T0" y="T1"/>
              </a:cxn>
              <a:cxn ang="T9">
                <a:pos x="T2" y="T3"/>
              </a:cxn>
              <a:cxn ang="T10">
                <a:pos x="T4" y="T5"/>
              </a:cxn>
              <a:cxn ang="T11">
                <a:pos x="T6" y="T7"/>
              </a:cxn>
            </a:cxnLst>
            <a:rect l="T12" t="T13" r="T14" b="T15"/>
            <a:pathLst>
              <a:path w="222250" h="1098550">
                <a:moveTo>
                  <a:pt x="190500" y="0"/>
                </a:moveTo>
                <a:lnTo>
                  <a:pt x="0" y="736600"/>
                </a:lnTo>
                <a:lnTo>
                  <a:pt x="222250" y="1098550"/>
                </a:lnTo>
                <a:lnTo>
                  <a:pt x="190500" y="0"/>
                </a:lnTo>
                <a:close/>
              </a:path>
            </a:pathLst>
          </a:custGeom>
          <a:solidFill>
            <a:srgbClr val="EC25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任意多边形 17"/>
          <p:cNvSpPr>
            <a:spLocks noChangeArrowheads="1"/>
          </p:cNvSpPr>
          <p:nvPr/>
        </p:nvSpPr>
        <p:spPr bwMode="auto">
          <a:xfrm>
            <a:off x="2406650" y="-158750"/>
            <a:ext cx="825500" cy="1244600"/>
          </a:xfrm>
          <a:custGeom>
            <a:avLst/>
            <a:gdLst>
              <a:gd name="T0" fmla="*/ 679450 w 825500"/>
              <a:gd name="T1" fmla="*/ 0 h 1244600"/>
              <a:gd name="T2" fmla="*/ 825500 w 825500"/>
              <a:gd name="T3" fmla="*/ 1244600 h 1244600"/>
              <a:gd name="T4" fmla="*/ 0 w 825500"/>
              <a:gd name="T5" fmla="*/ 819150 h 1244600"/>
              <a:gd name="T6" fmla="*/ 679450 w 825500"/>
              <a:gd name="T7" fmla="*/ 0 h 1244600"/>
              <a:gd name="T8" fmla="*/ 0 60000 65536"/>
              <a:gd name="T9" fmla="*/ 0 60000 65536"/>
              <a:gd name="T10" fmla="*/ 0 60000 65536"/>
              <a:gd name="T11" fmla="*/ 0 60000 65536"/>
              <a:gd name="T12" fmla="*/ 0 w 825500"/>
              <a:gd name="T13" fmla="*/ 0 h 1244600"/>
              <a:gd name="T14" fmla="*/ 825500 w 825500"/>
              <a:gd name="T15" fmla="*/ 1244600 h 1244600"/>
            </a:gdLst>
            <a:ahLst/>
            <a:cxnLst>
              <a:cxn ang="T8">
                <a:pos x="T0" y="T1"/>
              </a:cxn>
              <a:cxn ang="T9">
                <a:pos x="T2" y="T3"/>
              </a:cxn>
              <a:cxn ang="T10">
                <a:pos x="T4" y="T5"/>
              </a:cxn>
              <a:cxn ang="T11">
                <a:pos x="T6" y="T7"/>
              </a:cxn>
            </a:cxnLst>
            <a:rect l="T12" t="T13" r="T14" b="T15"/>
            <a:pathLst>
              <a:path w="825500" h="1244600">
                <a:moveTo>
                  <a:pt x="679450" y="0"/>
                </a:moveTo>
                <a:lnTo>
                  <a:pt x="825500" y="1244600"/>
                </a:lnTo>
                <a:lnTo>
                  <a:pt x="0" y="819150"/>
                </a:lnTo>
                <a:lnTo>
                  <a:pt x="679450" y="0"/>
                </a:lnTo>
                <a:close/>
              </a:path>
            </a:pathLst>
          </a:custGeom>
          <a:solidFill>
            <a:srgbClr val="4DC4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任意多边形 24"/>
          <p:cNvSpPr>
            <a:spLocks noChangeArrowheads="1"/>
          </p:cNvSpPr>
          <p:nvPr/>
        </p:nvSpPr>
        <p:spPr bwMode="auto">
          <a:xfrm>
            <a:off x="3067050" y="1600200"/>
            <a:ext cx="590550" cy="717550"/>
          </a:xfrm>
          <a:custGeom>
            <a:avLst/>
            <a:gdLst>
              <a:gd name="T0" fmla="*/ 590550 w 590550"/>
              <a:gd name="T1" fmla="*/ 0 h 717550"/>
              <a:gd name="T2" fmla="*/ 412750 w 590550"/>
              <a:gd name="T3" fmla="*/ 717550 h 717550"/>
              <a:gd name="T4" fmla="*/ 0 w 590550"/>
              <a:gd name="T5" fmla="*/ 635000 h 717550"/>
              <a:gd name="T6" fmla="*/ 590550 w 590550"/>
              <a:gd name="T7" fmla="*/ 0 h 717550"/>
              <a:gd name="T8" fmla="*/ 0 60000 65536"/>
              <a:gd name="T9" fmla="*/ 0 60000 65536"/>
              <a:gd name="T10" fmla="*/ 0 60000 65536"/>
              <a:gd name="T11" fmla="*/ 0 60000 65536"/>
              <a:gd name="T12" fmla="*/ 0 w 590550"/>
              <a:gd name="T13" fmla="*/ 0 h 717550"/>
              <a:gd name="T14" fmla="*/ 590550 w 590550"/>
              <a:gd name="T15" fmla="*/ 717550 h 717550"/>
            </a:gdLst>
            <a:ahLst/>
            <a:cxnLst>
              <a:cxn ang="T8">
                <a:pos x="T0" y="T1"/>
              </a:cxn>
              <a:cxn ang="T9">
                <a:pos x="T2" y="T3"/>
              </a:cxn>
              <a:cxn ang="T10">
                <a:pos x="T4" y="T5"/>
              </a:cxn>
              <a:cxn ang="T11">
                <a:pos x="T6" y="T7"/>
              </a:cxn>
            </a:cxnLst>
            <a:rect l="T12" t="T13" r="T14" b="T15"/>
            <a:pathLst>
              <a:path w="590550" h="717550">
                <a:moveTo>
                  <a:pt x="590550" y="0"/>
                </a:moveTo>
                <a:lnTo>
                  <a:pt x="412750" y="717550"/>
                </a:lnTo>
                <a:lnTo>
                  <a:pt x="0" y="635000"/>
                </a:lnTo>
                <a:lnTo>
                  <a:pt x="590550" y="0"/>
                </a:lnTo>
                <a:close/>
              </a:path>
            </a:pathLst>
          </a:custGeom>
          <a:solidFill>
            <a:srgbClr val="1AA8B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3" name="任意多边形 28"/>
          <p:cNvSpPr>
            <a:spLocks noChangeArrowheads="1"/>
          </p:cNvSpPr>
          <p:nvPr/>
        </p:nvSpPr>
        <p:spPr bwMode="auto">
          <a:xfrm>
            <a:off x="3073400" y="2241550"/>
            <a:ext cx="609600" cy="1295400"/>
          </a:xfrm>
          <a:custGeom>
            <a:avLst/>
            <a:gdLst>
              <a:gd name="T0" fmla="*/ 0 w 609600"/>
              <a:gd name="T1" fmla="*/ 0 h 1295400"/>
              <a:gd name="T2" fmla="*/ 609600 w 609600"/>
              <a:gd name="T3" fmla="*/ 431800 h 1295400"/>
              <a:gd name="T4" fmla="*/ 527050 w 609600"/>
              <a:gd name="T5" fmla="*/ 1295400 h 1295400"/>
              <a:gd name="T6" fmla="*/ 0 w 609600"/>
              <a:gd name="T7" fmla="*/ 0 h 1295400"/>
              <a:gd name="T8" fmla="*/ 0 60000 65536"/>
              <a:gd name="T9" fmla="*/ 0 60000 65536"/>
              <a:gd name="T10" fmla="*/ 0 60000 65536"/>
              <a:gd name="T11" fmla="*/ 0 60000 65536"/>
              <a:gd name="T12" fmla="*/ 0 w 609600"/>
              <a:gd name="T13" fmla="*/ 0 h 1295400"/>
              <a:gd name="T14" fmla="*/ 609600 w 609600"/>
              <a:gd name="T15" fmla="*/ 1295400 h 1295400"/>
            </a:gdLst>
            <a:ahLst/>
            <a:cxnLst>
              <a:cxn ang="T8">
                <a:pos x="T0" y="T1"/>
              </a:cxn>
              <a:cxn ang="T9">
                <a:pos x="T2" y="T3"/>
              </a:cxn>
              <a:cxn ang="T10">
                <a:pos x="T4" y="T5"/>
              </a:cxn>
              <a:cxn ang="T11">
                <a:pos x="T6" y="T7"/>
              </a:cxn>
            </a:cxnLst>
            <a:rect l="T12" t="T13" r="T14" b="T15"/>
            <a:pathLst>
              <a:path w="609600" h="1295400">
                <a:moveTo>
                  <a:pt x="0" y="0"/>
                </a:moveTo>
                <a:lnTo>
                  <a:pt x="609600" y="431800"/>
                </a:lnTo>
                <a:lnTo>
                  <a:pt x="527050" y="1295400"/>
                </a:lnTo>
                <a:lnTo>
                  <a:pt x="0" y="0"/>
                </a:lnTo>
                <a:close/>
              </a:path>
            </a:pathLst>
          </a:custGeom>
          <a:solidFill>
            <a:srgbClr val="F5942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任意多边形 30"/>
          <p:cNvSpPr>
            <a:spLocks noChangeArrowheads="1"/>
          </p:cNvSpPr>
          <p:nvPr/>
        </p:nvSpPr>
        <p:spPr bwMode="auto">
          <a:xfrm>
            <a:off x="3086100" y="2273300"/>
            <a:ext cx="654050" cy="1828800"/>
          </a:xfrm>
          <a:custGeom>
            <a:avLst/>
            <a:gdLst>
              <a:gd name="T0" fmla="*/ 0 w 654050"/>
              <a:gd name="T1" fmla="*/ 0 h 1828800"/>
              <a:gd name="T2" fmla="*/ 171450 w 654050"/>
              <a:gd name="T3" fmla="*/ 1295400 h 1828800"/>
              <a:gd name="T4" fmla="*/ 654050 w 654050"/>
              <a:gd name="T5" fmla="*/ 1828800 h 1828800"/>
              <a:gd name="T6" fmla="*/ 520700 w 654050"/>
              <a:gd name="T7" fmla="*/ 1250950 h 1828800"/>
              <a:gd name="T8" fmla="*/ 0 w 654050"/>
              <a:gd name="T9" fmla="*/ 0 h 1828800"/>
              <a:gd name="T10" fmla="*/ 0 60000 65536"/>
              <a:gd name="T11" fmla="*/ 0 60000 65536"/>
              <a:gd name="T12" fmla="*/ 0 60000 65536"/>
              <a:gd name="T13" fmla="*/ 0 60000 65536"/>
              <a:gd name="T14" fmla="*/ 0 60000 65536"/>
              <a:gd name="T15" fmla="*/ 0 w 654050"/>
              <a:gd name="T16" fmla="*/ 0 h 1828800"/>
              <a:gd name="T17" fmla="*/ 654050 w 654050"/>
              <a:gd name="T18" fmla="*/ 1828800 h 1828800"/>
            </a:gdLst>
            <a:ahLst/>
            <a:cxnLst>
              <a:cxn ang="T10">
                <a:pos x="T0" y="T1"/>
              </a:cxn>
              <a:cxn ang="T11">
                <a:pos x="T2" y="T3"/>
              </a:cxn>
              <a:cxn ang="T12">
                <a:pos x="T4" y="T5"/>
              </a:cxn>
              <a:cxn ang="T13">
                <a:pos x="T6" y="T7"/>
              </a:cxn>
              <a:cxn ang="T14">
                <a:pos x="T8" y="T9"/>
              </a:cxn>
            </a:cxnLst>
            <a:rect l="T15" t="T16" r="T17" b="T18"/>
            <a:pathLst>
              <a:path w="654050" h="1828800">
                <a:moveTo>
                  <a:pt x="0" y="0"/>
                </a:moveTo>
                <a:lnTo>
                  <a:pt x="171450" y="1295400"/>
                </a:lnTo>
                <a:lnTo>
                  <a:pt x="654050" y="1828800"/>
                </a:lnTo>
                <a:lnTo>
                  <a:pt x="520700" y="1250950"/>
                </a:lnTo>
                <a:lnTo>
                  <a:pt x="0" y="0"/>
                </a:lnTo>
                <a:close/>
              </a:path>
            </a:pathLst>
          </a:cu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5" name="任意多边形 31"/>
          <p:cNvSpPr>
            <a:spLocks noChangeArrowheads="1"/>
          </p:cNvSpPr>
          <p:nvPr/>
        </p:nvSpPr>
        <p:spPr bwMode="auto">
          <a:xfrm>
            <a:off x="3581400" y="2673350"/>
            <a:ext cx="692150" cy="965200"/>
          </a:xfrm>
          <a:custGeom>
            <a:avLst/>
            <a:gdLst>
              <a:gd name="T0" fmla="*/ 101600 w 692150"/>
              <a:gd name="T1" fmla="*/ 0 h 958850"/>
              <a:gd name="T2" fmla="*/ 0 w 692150"/>
              <a:gd name="T3" fmla="*/ 850900 h 958850"/>
              <a:gd name="T4" fmla="*/ 692150 w 692150"/>
              <a:gd name="T5" fmla="*/ 958850 h 958850"/>
              <a:gd name="T6" fmla="*/ 101600 w 692150"/>
              <a:gd name="T7" fmla="*/ 0 h 958850"/>
              <a:gd name="T8" fmla="*/ 0 60000 65536"/>
              <a:gd name="T9" fmla="*/ 0 60000 65536"/>
              <a:gd name="T10" fmla="*/ 0 60000 65536"/>
              <a:gd name="T11" fmla="*/ 0 60000 65536"/>
              <a:gd name="T12" fmla="*/ 0 w 692150"/>
              <a:gd name="T13" fmla="*/ 0 h 958850"/>
              <a:gd name="T14" fmla="*/ 692150 w 692150"/>
              <a:gd name="T15" fmla="*/ 958850 h 958850"/>
            </a:gdLst>
            <a:ahLst/>
            <a:cxnLst>
              <a:cxn ang="T8">
                <a:pos x="T0" y="T1"/>
              </a:cxn>
              <a:cxn ang="T9">
                <a:pos x="T2" y="T3"/>
              </a:cxn>
              <a:cxn ang="T10">
                <a:pos x="T4" y="T5"/>
              </a:cxn>
              <a:cxn ang="T11">
                <a:pos x="T6" y="T7"/>
              </a:cxn>
            </a:cxnLst>
            <a:rect l="T12" t="T13" r="T14" b="T15"/>
            <a:pathLst>
              <a:path w="692150" h="958850">
                <a:moveTo>
                  <a:pt x="101600" y="0"/>
                </a:moveTo>
                <a:lnTo>
                  <a:pt x="0" y="850900"/>
                </a:lnTo>
                <a:lnTo>
                  <a:pt x="692150" y="958850"/>
                </a:lnTo>
                <a:lnTo>
                  <a:pt x="101600" y="0"/>
                </a:lnTo>
                <a:close/>
              </a:path>
            </a:pathLst>
          </a:custGeom>
          <a:solidFill>
            <a:srgbClr val="F8A11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6" name="任意多边形 32"/>
          <p:cNvSpPr>
            <a:spLocks noChangeArrowheads="1"/>
          </p:cNvSpPr>
          <p:nvPr/>
        </p:nvSpPr>
        <p:spPr bwMode="auto">
          <a:xfrm>
            <a:off x="3683000" y="2667000"/>
            <a:ext cx="571500" cy="984250"/>
          </a:xfrm>
          <a:custGeom>
            <a:avLst/>
            <a:gdLst>
              <a:gd name="T0" fmla="*/ 0 w 596900"/>
              <a:gd name="T1" fmla="*/ 0 h 965200"/>
              <a:gd name="T2" fmla="*/ 349250 w 596900"/>
              <a:gd name="T3" fmla="*/ 38100 h 965200"/>
              <a:gd name="T4" fmla="*/ 596900 w 596900"/>
              <a:gd name="T5" fmla="*/ 965200 h 965200"/>
              <a:gd name="T6" fmla="*/ 0 w 596900"/>
              <a:gd name="T7" fmla="*/ 0 h 965200"/>
              <a:gd name="T8" fmla="*/ 0 60000 65536"/>
              <a:gd name="T9" fmla="*/ 0 60000 65536"/>
              <a:gd name="T10" fmla="*/ 0 60000 65536"/>
              <a:gd name="T11" fmla="*/ 0 60000 65536"/>
              <a:gd name="T12" fmla="*/ 0 w 596900"/>
              <a:gd name="T13" fmla="*/ 0 h 965200"/>
              <a:gd name="T14" fmla="*/ 596900 w 596900"/>
              <a:gd name="T15" fmla="*/ 965200 h 965200"/>
            </a:gdLst>
            <a:ahLst/>
            <a:cxnLst>
              <a:cxn ang="T8">
                <a:pos x="T0" y="T1"/>
              </a:cxn>
              <a:cxn ang="T9">
                <a:pos x="T2" y="T3"/>
              </a:cxn>
              <a:cxn ang="T10">
                <a:pos x="T4" y="T5"/>
              </a:cxn>
              <a:cxn ang="T11">
                <a:pos x="T6" y="T7"/>
              </a:cxn>
            </a:cxnLst>
            <a:rect l="T12" t="T13" r="T14" b="T15"/>
            <a:pathLst>
              <a:path w="596900" h="965200">
                <a:moveTo>
                  <a:pt x="0" y="0"/>
                </a:moveTo>
                <a:lnTo>
                  <a:pt x="349250" y="38100"/>
                </a:lnTo>
                <a:lnTo>
                  <a:pt x="596900" y="965200"/>
                </a:lnTo>
                <a:lnTo>
                  <a:pt x="0" y="0"/>
                </a:lnTo>
                <a:close/>
              </a:path>
            </a:pathLst>
          </a:custGeom>
          <a:solidFill>
            <a:srgbClr val="250D0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7" name="任意多边形 33"/>
          <p:cNvSpPr>
            <a:spLocks noChangeArrowheads="1"/>
          </p:cNvSpPr>
          <p:nvPr/>
        </p:nvSpPr>
        <p:spPr bwMode="auto">
          <a:xfrm>
            <a:off x="3587750" y="3492500"/>
            <a:ext cx="698500" cy="660400"/>
          </a:xfrm>
          <a:custGeom>
            <a:avLst/>
            <a:gdLst>
              <a:gd name="T0" fmla="*/ 0 w 698500"/>
              <a:gd name="T1" fmla="*/ 0 h 609600"/>
              <a:gd name="T2" fmla="*/ 146050 w 698500"/>
              <a:gd name="T3" fmla="*/ 609600 h 609600"/>
              <a:gd name="T4" fmla="*/ 698500 w 698500"/>
              <a:gd name="T5" fmla="*/ 139700 h 609600"/>
              <a:gd name="T6" fmla="*/ 0 w 698500"/>
              <a:gd name="T7" fmla="*/ 0 h 609600"/>
              <a:gd name="T8" fmla="*/ 0 60000 65536"/>
              <a:gd name="T9" fmla="*/ 0 60000 65536"/>
              <a:gd name="T10" fmla="*/ 0 60000 65536"/>
              <a:gd name="T11" fmla="*/ 0 60000 65536"/>
              <a:gd name="T12" fmla="*/ 0 w 698500"/>
              <a:gd name="T13" fmla="*/ 0 h 609600"/>
              <a:gd name="T14" fmla="*/ 698500 w 698500"/>
              <a:gd name="T15" fmla="*/ 609600 h 609600"/>
            </a:gdLst>
            <a:ahLst/>
            <a:cxnLst>
              <a:cxn ang="T8">
                <a:pos x="T0" y="T1"/>
              </a:cxn>
              <a:cxn ang="T9">
                <a:pos x="T2" y="T3"/>
              </a:cxn>
              <a:cxn ang="T10">
                <a:pos x="T4" y="T5"/>
              </a:cxn>
              <a:cxn ang="T11">
                <a:pos x="T6" y="T7"/>
              </a:cxn>
            </a:cxnLst>
            <a:rect l="T12" t="T13" r="T14" b="T15"/>
            <a:pathLst>
              <a:path w="698500" h="609600">
                <a:moveTo>
                  <a:pt x="0" y="0"/>
                </a:moveTo>
                <a:lnTo>
                  <a:pt x="146050" y="609600"/>
                </a:lnTo>
                <a:lnTo>
                  <a:pt x="698500" y="139700"/>
                </a:lnTo>
                <a:lnTo>
                  <a:pt x="0" y="0"/>
                </a:lnTo>
                <a:close/>
              </a:path>
            </a:pathLst>
          </a:custGeom>
          <a:solidFill>
            <a:srgbClr val="EE592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8" name="任意多边形 34"/>
          <p:cNvSpPr>
            <a:spLocks noChangeArrowheads="1"/>
          </p:cNvSpPr>
          <p:nvPr/>
        </p:nvSpPr>
        <p:spPr bwMode="auto">
          <a:xfrm>
            <a:off x="3251200" y="3556000"/>
            <a:ext cx="495300" cy="1016000"/>
          </a:xfrm>
          <a:custGeom>
            <a:avLst/>
            <a:gdLst>
              <a:gd name="T0" fmla="*/ 0 w 495300"/>
              <a:gd name="T1" fmla="*/ 0 h 1016000"/>
              <a:gd name="T2" fmla="*/ 495300 w 495300"/>
              <a:gd name="T3" fmla="*/ 533400 h 1016000"/>
              <a:gd name="T4" fmla="*/ 336550 w 495300"/>
              <a:gd name="T5" fmla="*/ 1016000 h 1016000"/>
              <a:gd name="T6" fmla="*/ 0 w 495300"/>
              <a:gd name="T7" fmla="*/ 0 h 1016000"/>
              <a:gd name="T8" fmla="*/ 0 60000 65536"/>
              <a:gd name="T9" fmla="*/ 0 60000 65536"/>
              <a:gd name="T10" fmla="*/ 0 60000 65536"/>
              <a:gd name="T11" fmla="*/ 0 60000 65536"/>
              <a:gd name="T12" fmla="*/ 0 w 495300"/>
              <a:gd name="T13" fmla="*/ 0 h 1016000"/>
              <a:gd name="T14" fmla="*/ 495300 w 495300"/>
              <a:gd name="T15" fmla="*/ 1016000 h 1016000"/>
            </a:gdLst>
            <a:ahLst/>
            <a:cxnLst>
              <a:cxn ang="T8">
                <a:pos x="T0" y="T1"/>
              </a:cxn>
              <a:cxn ang="T9">
                <a:pos x="T2" y="T3"/>
              </a:cxn>
              <a:cxn ang="T10">
                <a:pos x="T4" y="T5"/>
              </a:cxn>
              <a:cxn ang="T11">
                <a:pos x="T6" y="T7"/>
              </a:cxn>
            </a:cxnLst>
            <a:rect l="T12" t="T13" r="T14" b="T15"/>
            <a:pathLst>
              <a:path w="495300" h="1016000">
                <a:moveTo>
                  <a:pt x="0" y="0"/>
                </a:moveTo>
                <a:lnTo>
                  <a:pt x="495300" y="533400"/>
                </a:lnTo>
                <a:lnTo>
                  <a:pt x="336550" y="1016000"/>
                </a:lnTo>
                <a:lnTo>
                  <a:pt x="0" y="0"/>
                </a:lnTo>
                <a:close/>
              </a:path>
            </a:pathLst>
          </a:custGeom>
          <a:solidFill>
            <a:srgbClr val="ED702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9" name="任意多边形 35"/>
          <p:cNvSpPr>
            <a:spLocks noChangeArrowheads="1"/>
          </p:cNvSpPr>
          <p:nvPr/>
        </p:nvSpPr>
        <p:spPr bwMode="auto">
          <a:xfrm>
            <a:off x="3594100" y="3638550"/>
            <a:ext cx="711200" cy="914400"/>
          </a:xfrm>
          <a:custGeom>
            <a:avLst/>
            <a:gdLst>
              <a:gd name="T0" fmla="*/ 146050 w 711200"/>
              <a:gd name="T1" fmla="*/ 444500 h 914400"/>
              <a:gd name="T2" fmla="*/ 711200 w 711200"/>
              <a:gd name="T3" fmla="*/ 0 h 914400"/>
              <a:gd name="T4" fmla="*/ 0 w 711200"/>
              <a:gd name="T5" fmla="*/ 914400 h 914400"/>
              <a:gd name="T6" fmla="*/ 146050 w 711200"/>
              <a:gd name="T7" fmla="*/ 444500 h 914400"/>
              <a:gd name="T8" fmla="*/ 0 60000 65536"/>
              <a:gd name="T9" fmla="*/ 0 60000 65536"/>
              <a:gd name="T10" fmla="*/ 0 60000 65536"/>
              <a:gd name="T11" fmla="*/ 0 60000 65536"/>
              <a:gd name="T12" fmla="*/ 0 w 711200"/>
              <a:gd name="T13" fmla="*/ 0 h 914400"/>
              <a:gd name="T14" fmla="*/ 711200 w 711200"/>
              <a:gd name="T15" fmla="*/ 914400 h 914400"/>
            </a:gdLst>
            <a:ahLst/>
            <a:cxnLst>
              <a:cxn ang="T8">
                <a:pos x="T0" y="T1"/>
              </a:cxn>
              <a:cxn ang="T9">
                <a:pos x="T2" y="T3"/>
              </a:cxn>
              <a:cxn ang="T10">
                <a:pos x="T4" y="T5"/>
              </a:cxn>
              <a:cxn ang="T11">
                <a:pos x="T6" y="T7"/>
              </a:cxn>
            </a:cxnLst>
            <a:rect l="T12" t="T13" r="T14" b="T15"/>
            <a:pathLst>
              <a:path w="711200" h="914400">
                <a:moveTo>
                  <a:pt x="146050" y="444500"/>
                </a:moveTo>
                <a:lnTo>
                  <a:pt x="711200" y="0"/>
                </a:lnTo>
                <a:lnTo>
                  <a:pt x="0" y="914400"/>
                </a:lnTo>
                <a:lnTo>
                  <a:pt x="146050" y="444500"/>
                </a:lnTo>
                <a:close/>
              </a:path>
            </a:pathLst>
          </a:custGeom>
          <a:solidFill>
            <a:srgbClr val="E7303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0" name="任意多边形 36"/>
          <p:cNvSpPr>
            <a:spLocks noChangeArrowheads="1"/>
          </p:cNvSpPr>
          <p:nvPr/>
        </p:nvSpPr>
        <p:spPr bwMode="auto">
          <a:xfrm>
            <a:off x="3930650" y="3644900"/>
            <a:ext cx="546100" cy="431800"/>
          </a:xfrm>
          <a:custGeom>
            <a:avLst/>
            <a:gdLst>
              <a:gd name="T0" fmla="*/ 0 w 488950"/>
              <a:gd name="T1" fmla="*/ 431800 h 431800"/>
              <a:gd name="T2" fmla="*/ 488950 w 488950"/>
              <a:gd name="T3" fmla="*/ 425450 h 431800"/>
              <a:gd name="T4" fmla="*/ 311150 w 488950"/>
              <a:gd name="T5" fmla="*/ 0 h 431800"/>
              <a:gd name="T6" fmla="*/ 0 w 488950"/>
              <a:gd name="T7" fmla="*/ 431800 h 431800"/>
              <a:gd name="T8" fmla="*/ 0 60000 65536"/>
              <a:gd name="T9" fmla="*/ 0 60000 65536"/>
              <a:gd name="T10" fmla="*/ 0 60000 65536"/>
              <a:gd name="T11" fmla="*/ 0 60000 65536"/>
              <a:gd name="T12" fmla="*/ 0 w 488950"/>
              <a:gd name="T13" fmla="*/ 0 h 431800"/>
              <a:gd name="T14" fmla="*/ 488950 w 488950"/>
              <a:gd name="T15" fmla="*/ 431800 h 431800"/>
            </a:gdLst>
            <a:ahLst/>
            <a:cxnLst>
              <a:cxn ang="T8">
                <a:pos x="T0" y="T1"/>
              </a:cxn>
              <a:cxn ang="T9">
                <a:pos x="T2" y="T3"/>
              </a:cxn>
              <a:cxn ang="T10">
                <a:pos x="T4" y="T5"/>
              </a:cxn>
              <a:cxn ang="T11">
                <a:pos x="T6" y="T7"/>
              </a:cxn>
            </a:cxnLst>
            <a:rect l="T12" t="T13" r="T14" b="T15"/>
            <a:pathLst>
              <a:path w="488950" h="431800">
                <a:moveTo>
                  <a:pt x="0" y="431800"/>
                </a:moveTo>
                <a:lnTo>
                  <a:pt x="488950" y="425450"/>
                </a:lnTo>
                <a:lnTo>
                  <a:pt x="311150" y="0"/>
                </a:lnTo>
                <a:lnTo>
                  <a:pt x="0" y="431800"/>
                </a:lnTo>
                <a:close/>
              </a:path>
            </a:pathLst>
          </a:custGeom>
          <a:solidFill>
            <a:srgbClr val="B71C3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1" name="任意多边形 39"/>
          <p:cNvSpPr>
            <a:spLocks noChangeArrowheads="1"/>
          </p:cNvSpPr>
          <p:nvPr/>
        </p:nvSpPr>
        <p:spPr bwMode="auto">
          <a:xfrm>
            <a:off x="3575050" y="4121150"/>
            <a:ext cx="679450" cy="711200"/>
          </a:xfrm>
          <a:custGeom>
            <a:avLst/>
            <a:gdLst>
              <a:gd name="T0" fmla="*/ 355600 w 679450"/>
              <a:gd name="T1" fmla="*/ 0 h 711200"/>
              <a:gd name="T2" fmla="*/ 679450 w 679450"/>
              <a:gd name="T3" fmla="*/ 711200 h 711200"/>
              <a:gd name="T4" fmla="*/ 0 w 679450"/>
              <a:gd name="T5" fmla="*/ 450850 h 711200"/>
              <a:gd name="T6" fmla="*/ 355600 w 679450"/>
              <a:gd name="T7" fmla="*/ 0 h 711200"/>
              <a:gd name="T8" fmla="*/ 0 60000 65536"/>
              <a:gd name="T9" fmla="*/ 0 60000 65536"/>
              <a:gd name="T10" fmla="*/ 0 60000 65536"/>
              <a:gd name="T11" fmla="*/ 0 60000 65536"/>
              <a:gd name="T12" fmla="*/ 0 w 679450"/>
              <a:gd name="T13" fmla="*/ 0 h 711200"/>
              <a:gd name="T14" fmla="*/ 679450 w 679450"/>
              <a:gd name="T15" fmla="*/ 711200 h 711200"/>
            </a:gdLst>
            <a:ahLst/>
            <a:cxnLst>
              <a:cxn ang="T8">
                <a:pos x="T0" y="T1"/>
              </a:cxn>
              <a:cxn ang="T9">
                <a:pos x="T2" y="T3"/>
              </a:cxn>
              <a:cxn ang="T10">
                <a:pos x="T4" y="T5"/>
              </a:cxn>
              <a:cxn ang="T11">
                <a:pos x="T6" y="T7"/>
              </a:cxn>
            </a:cxnLst>
            <a:rect l="T12" t="T13" r="T14" b="T15"/>
            <a:pathLst>
              <a:path w="679450" h="711200">
                <a:moveTo>
                  <a:pt x="355600" y="0"/>
                </a:moveTo>
                <a:lnTo>
                  <a:pt x="679450" y="711200"/>
                </a:lnTo>
                <a:lnTo>
                  <a:pt x="0" y="450850"/>
                </a:lnTo>
                <a:lnTo>
                  <a:pt x="355600" y="0"/>
                </a:lnTo>
                <a:close/>
              </a:path>
            </a:pathLst>
          </a:custGeom>
          <a:solidFill>
            <a:srgbClr val="C41F3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2" name="任意多边形 42"/>
          <p:cNvSpPr>
            <a:spLocks noChangeArrowheads="1"/>
          </p:cNvSpPr>
          <p:nvPr/>
        </p:nvSpPr>
        <p:spPr bwMode="auto">
          <a:xfrm>
            <a:off x="3905250" y="4076700"/>
            <a:ext cx="882650" cy="736600"/>
          </a:xfrm>
          <a:custGeom>
            <a:avLst/>
            <a:gdLst>
              <a:gd name="T0" fmla="*/ 0 w 844550"/>
              <a:gd name="T1" fmla="*/ 0 h 736600"/>
              <a:gd name="T2" fmla="*/ 844550 w 844550"/>
              <a:gd name="T3" fmla="*/ 736600 h 736600"/>
              <a:gd name="T4" fmla="*/ 685800 w 844550"/>
              <a:gd name="T5" fmla="*/ 323850 h 736600"/>
              <a:gd name="T6" fmla="*/ 0 w 844550"/>
              <a:gd name="T7" fmla="*/ 0 h 736600"/>
              <a:gd name="T8" fmla="*/ 0 60000 65536"/>
              <a:gd name="T9" fmla="*/ 0 60000 65536"/>
              <a:gd name="T10" fmla="*/ 0 60000 65536"/>
              <a:gd name="T11" fmla="*/ 0 60000 65536"/>
              <a:gd name="T12" fmla="*/ 0 w 844550"/>
              <a:gd name="T13" fmla="*/ 0 h 736600"/>
              <a:gd name="T14" fmla="*/ 844550 w 844550"/>
              <a:gd name="T15" fmla="*/ 736600 h 736600"/>
            </a:gdLst>
            <a:ahLst/>
            <a:cxnLst>
              <a:cxn ang="T8">
                <a:pos x="T0" y="T1"/>
              </a:cxn>
              <a:cxn ang="T9">
                <a:pos x="T2" y="T3"/>
              </a:cxn>
              <a:cxn ang="T10">
                <a:pos x="T4" y="T5"/>
              </a:cxn>
              <a:cxn ang="T11">
                <a:pos x="T6" y="T7"/>
              </a:cxn>
            </a:cxnLst>
            <a:rect l="T12" t="T13" r="T14" b="T15"/>
            <a:pathLst>
              <a:path w="844550" h="736600">
                <a:moveTo>
                  <a:pt x="0" y="0"/>
                </a:moveTo>
                <a:lnTo>
                  <a:pt x="844550" y="736600"/>
                </a:lnTo>
                <a:lnTo>
                  <a:pt x="685800" y="323850"/>
                </a:lnTo>
                <a:lnTo>
                  <a:pt x="0" y="0"/>
                </a:lnTo>
                <a:close/>
              </a:path>
            </a:pathLst>
          </a:custGeom>
          <a:solidFill>
            <a:srgbClr val="F4552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任意多边形 43"/>
          <p:cNvSpPr>
            <a:spLocks noChangeArrowheads="1"/>
          </p:cNvSpPr>
          <p:nvPr/>
        </p:nvSpPr>
        <p:spPr bwMode="auto">
          <a:xfrm>
            <a:off x="3321050" y="4832350"/>
            <a:ext cx="1098550" cy="336550"/>
          </a:xfrm>
          <a:custGeom>
            <a:avLst/>
            <a:gdLst>
              <a:gd name="T0" fmla="*/ 0 w 1098550"/>
              <a:gd name="T1" fmla="*/ 101600 h 336550"/>
              <a:gd name="T2" fmla="*/ 946150 w 1098550"/>
              <a:gd name="T3" fmla="*/ 0 h 336550"/>
              <a:gd name="T4" fmla="*/ 1098550 w 1098550"/>
              <a:gd name="T5" fmla="*/ 336550 h 336550"/>
              <a:gd name="T6" fmla="*/ 0 w 1098550"/>
              <a:gd name="T7" fmla="*/ 101600 h 336550"/>
              <a:gd name="T8" fmla="*/ 0 60000 65536"/>
              <a:gd name="T9" fmla="*/ 0 60000 65536"/>
              <a:gd name="T10" fmla="*/ 0 60000 65536"/>
              <a:gd name="T11" fmla="*/ 0 60000 65536"/>
              <a:gd name="T12" fmla="*/ 0 w 1098550"/>
              <a:gd name="T13" fmla="*/ 0 h 336550"/>
              <a:gd name="T14" fmla="*/ 1098550 w 1098550"/>
              <a:gd name="T15" fmla="*/ 336550 h 336550"/>
            </a:gdLst>
            <a:ahLst/>
            <a:cxnLst>
              <a:cxn ang="T8">
                <a:pos x="T0" y="T1"/>
              </a:cxn>
              <a:cxn ang="T9">
                <a:pos x="T2" y="T3"/>
              </a:cxn>
              <a:cxn ang="T10">
                <a:pos x="T4" y="T5"/>
              </a:cxn>
              <a:cxn ang="T11">
                <a:pos x="T6" y="T7"/>
              </a:cxn>
            </a:cxnLst>
            <a:rect l="T12" t="T13" r="T14" b="T15"/>
            <a:pathLst>
              <a:path w="1098550" h="336550">
                <a:moveTo>
                  <a:pt x="0" y="101600"/>
                </a:moveTo>
                <a:lnTo>
                  <a:pt x="946150" y="0"/>
                </a:lnTo>
                <a:lnTo>
                  <a:pt x="1098550" y="336550"/>
                </a:lnTo>
                <a:lnTo>
                  <a:pt x="0" y="101600"/>
                </a:lnTo>
                <a:close/>
              </a:path>
            </a:pathLst>
          </a:custGeom>
          <a:solidFill>
            <a:srgbClr val="F66E2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4" name="任意多边形 47"/>
          <p:cNvSpPr>
            <a:spLocks noChangeArrowheads="1"/>
          </p:cNvSpPr>
          <p:nvPr/>
        </p:nvSpPr>
        <p:spPr bwMode="auto">
          <a:xfrm>
            <a:off x="4254500" y="4813300"/>
            <a:ext cx="539750" cy="381000"/>
          </a:xfrm>
          <a:custGeom>
            <a:avLst/>
            <a:gdLst>
              <a:gd name="T0" fmla="*/ 0 w 520700"/>
              <a:gd name="T1" fmla="*/ 6350 h 355600"/>
              <a:gd name="T2" fmla="*/ 520700 w 520700"/>
              <a:gd name="T3" fmla="*/ 0 h 355600"/>
              <a:gd name="T4" fmla="*/ 171450 w 520700"/>
              <a:gd name="T5" fmla="*/ 355600 h 355600"/>
              <a:gd name="T6" fmla="*/ 0 w 520700"/>
              <a:gd name="T7" fmla="*/ 6350 h 355600"/>
              <a:gd name="T8" fmla="*/ 0 60000 65536"/>
              <a:gd name="T9" fmla="*/ 0 60000 65536"/>
              <a:gd name="T10" fmla="*/ 0 60000 65536"/>
              <a:gd name="T11" fmla="*/ 0 60000 65536"/>
              <a:gd name="T12" fmla="*/ 0 w 520700"/>
              <a:gd name="T13" fmla="*/ 0 h 355600"/>
              <a:gd name="T14" fmla="*/ 520700 w 520700"/>
              <a:gd name="T15" fmla="*/ 355600 h 355600"/>
            </a:gdLst>
            <a:ahLst/>
            <a:cxnLst>
              <a:cxn ang="T8">
                <a:pos x="T0" y="T1"/>
              </a:cxn>
              <a:cxn ang="T9">
                <a:pos x="T2" y="T3"/>
              </a:cxn>
              <a:cxn ang="T10">
                <a:pos x="T4" y="T5"/>
              </a:cxn>
              <a:cxn ang="T11">
                <a:pos x="T6" y="T7"/>
              </a:cxn>
            </a:cxnLst>
            <a:rect l="T12" t="T13" r="T14" b="T15"/>
            <a:pathLst>
              <a:path w="520700" h="355600">
                <a:moveTo>
                  <a:pt x="0" y="6350"/>
                </a:moveTo>
                <a:lnTo>
                  <a:pt x="520700" y="0"/>
                </a:lnTo>
                <a:lnTo>
                  <a:pt x="171450" y="355600"/>
                </a:lnTo>
                <a:lnTo>
                  <a:pt x="0" y="6350"/>
                </a:lnTo>
                <a:close/>
              </a:path>
            </a:pathLst>
          </a:custGeom>
          <a:solidFill>
            <a:srgbClr val="BC232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5" name="任意多边形 49"/>
          <p:cNvSpPr>
            <a:spLocks noChangeArrowheads="1"/>
          </p:cNvSpPr>
          <p:nvPr/>
        </p:nvSpPr>
        <p:spPr bwMode="auto">
          <a:xfrm>
            <a:off x="2476500" y="-38100"/>
            <a:ext cx="387350" cy="146050"/>
          </a:xfrm>
          <a:custGeom>
            <a:avLst/>
            <a:gdLst>
              <a:gd name="T0" fmla="*/ 0 w 387350"/>
              <a:gd name="T1" fmla="*/ 19050 h 146050"/>
              <a:gd name="T2" fmla="*/ 114300 w 387350"/>
              <a:gd name="T3" fmla="*/ 146050 h 146050"/>
              <a:gd name="T4" fmla="*/ 387350 w 387350"/>
              <a:gd name="T5" fmla="*/ 0 h 146050"/>
              <a:gd name="T6" fmla="*/ 0 w 387350"/>
              <a:gd name="T7" fmla="*/ 19050 h 146050"/>
              <a:gd name="T8" fmla="*/ 0 60000 65536"/>
              <a:gd name="T9" fmla="*/ 0 60000 65536"/>
              <a:gd name="T10" fmla="*/ 0 60000 65536"/>
              <a:gd name="T11" fmla="*/ 0 60000 65536"/>
              <a:gd name="T12" fmla="*/ 0 w 387350"/>
              <a:gd name="T13" fmla="*/ 0 h 146050"/>
              <a:gd name="T14" fmla="*/ 387350 w 387350"/>
              <a:gd name="T15" fmla="*/ 146050 h 146050"/>
            </a:gdLst>
            <a:ahLst/>
            <a:cxnLst>
              <a:cxn ang="T8">
                <a:pos x="T0" y="T1"/>
              </a:cxn>
              <a:cxn ang="T9">
                <a:pos x="T2" y="T3"/>
              </a:cxn>
              <a:cxn ang="T10">
                <a:pos x="T4" y="T5"/>
              </a:cxn>
              <a:cxn ang="T11">
                <a:pos x="T6" y="T7"/>
              </a:cxn>
            </a:cxnLst>
            <a:rect l="T12" t="T13" r="T14" b="T15"/>
            <a:pathLst>
              <a:path w="387350" h="146050">
                <a:moveTo>
                  <a:pt x="0" y="19050"/>
                </a:moveTo>
                <a:lnTo>
                  <a:pt x="114300" y="146050"/>
                </a:lnTo>
                <a:lnTo>
                  <a:pt x="387350" y="0"/>
                </a:lnTo>
                <a:lnTo>
                  <a:pt x="0" y="19050"/>
                </a:lnTo>
                <a:close/>
              </a:path>
            </a:pathLst>
          </a:custGeom>
          <a:solidFill>
            <a:srgbClr val="1D9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6" name="任意多边形 50"/>
          <p:cNvSpPr>
            <a:spLocks noChangeArrowheads="1"/>
          </p:cNvSpPr>
          <p:nvPr/>
        </p:nvSpPr>
        <p:spPr bwMode="auto">
          <a:xfrm>
            <a:off x="4222750" y="1150938"/>
            <a:ext cx="203200" cy="152400"/>
          </a:xfrm>
          <a:custGeom>
            <a:avLst/>
            <a:gdLst>
              <a:gd name="T0" fmla="*/ 114300 w 203200"/>
              <a:gd name="T1" fmla="*/ 0 h 152400"/>
              <a:gd name="T2" fmla="*/ 0 w 203200"/>
              <a:gd name="T3" fmla="*/ 152400 h 152400"/>
              <a:gd name="T4" fmla="*/ 203200 w 203200"/>
              <a:gd name="T5" fmla="*/ 63500 h 152400"/>
              <a:gd name="T6" fmla="*/ 114300 w 203200"/>
              <a:gd name="T7" fmla="*/ 0 h 152400"/>
              <a:gd name="T8" fmla="*/ 0 60000 65536"/>
              <a:gd name="T9" fmla="*/ 0 60000 65536"/>
              <a:gd name="T10" fmla="*/ 0 60000 65536"/>
              <a:gd name="T11" fmla="*/ 0 60000 65536"/>
              <a:gd name="T12" fmla="*/ 0 w 203200"/>
              <a:gd name="T13" fmla="*/ 0 h 152400"/>
              <a:gd name="T14" fmla="*/ 203200 w 203200"/>
              <a:gd name="T15" fmla="*/ 152400 h 152400"/>
            </a:gdLst>
            <a:ahLst/>
            <a:cxnLst>
              <a:cxn ang="T8">
                <a:pos x="T0" y="T1"/>
              </a:cxn>
              <a:cxn ang="T9">
                <a:pos x="T2" y="T3"/>
              </a:cxn>
              <a:cxn ang="T10">
                <a:pos x="T4" y="T5"/>
              </a:cxn>
              <a:cxn ang="T11">
                <a:pos x="T6" y="T7"/>
              </a:cxn>
            </a:cxnLst>
            <a:rect l="T12" t="T13" r="T14" b="T15"/>
            <a:pathLst>
              <a:path w="203200" h="152400">
                <a:moveTo>
                  <a:pt x="114300" y="0"/>
                </a:moveTo>
                <a:lnTo>
                  <a:pt x="0" y="152400"/>
                </a:lnTo>
                <a:lnTo>
                  <a:pt x="203200" y="63500"/>
                </a:lnTo>
                <a:lnTo>
                  <a:pt x="114300" y="0"/>
                </a:lnTo>
                <a:close/>
              </a:path>
            </a:pathLst>
          </a:custGeom>
          <a:solidFill>
            <a:srgbClr val="EE403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7" name="任意多边形 51"/>
          <p:cNvSpPr>
            <a:spLocks noChangeArrowheads="1"/>
          </p:cNvSpPr>
          <p:nvPr/>
        </p:nvSpPr>
        <p:spPr bwMode="auto">
          <a:xfrm>
            <a:off x="4578350" y="1897063"/>
            <a:ext cx="266700" cy="285750"/>
          </a:xfrm>
          <a:custGeom>
            <a:avLst/>
            <a:gdLst>
              <a:gd name="T0" fmla="*/ 0 w 266700"/>
              <a:gd name="T1" fmla="*/ 0 h 285750"/>
              <a:gd name="T2" fmla="*/ 266700 w 266700"/>
              <a:gd name="T3" fmla="*/ 6350 h 285750"/>
              <a:gd name="T4" fmla="*/ 222250 w 266700"/>
              <a:gd name="T5" fmla="*/ 285750 h 285750"/>
              <a:gd name="T6" fmla="*/ 0 w 266700"/>
              <a:gd name="T7" fmla="*/ 0 h 285750"/>
              <a:gd name="T8" fmla="*/ 0 60000 65536"/>
              <a:gd name="T9" fmla="*/ 0 60000 65536"/>
              <a:gd name="T10" fmla="*/ 0 60000 65536"/>
              <a:gd name="T11" fmla="*/ 0 60000 65536"/>
              <a:gd name="T12" fmla="*/ 0 w 266700"/>
              <a:gd name="T13" fmla="*/ 0 h 285750"/>
              <a:gd name="T14" fmla="*/ 266700 w 266700"/>
              <a:gd name="T15" fmla="*/ 285750 h 285750"/>
            </a:gdLst>
            <a:ahLst/>
            <a:cxnLst>
              <a:cxn ang="T8">
                <a:pos x="T0" y="T1"/>
              </a:cxn>
              <a:cxn ang="T9">
                <a:pos x="T2" y="T3"/>
              </a:cxn>
              <a:cxn ang="T10">
                <a:pos x="T4" y="T5"/>
              </a:cxn>
              <a:cxn ang="T11">
                <a:pos x="T6" y="T7"/>
              </a:cxn>
            </a:cxnLst>
            <a:rect l="T12" t="T13" r="T14" b="T15"/>
            <a:pathLst>
              <a:path w="266700" h="285750">
                <a:moveTo>
                  <a:pt x="0" y="0"/>
                </a:moveTo>
                <a:lnTo>
                  <a:pt x="266700" y="6350"/>
                </a:lnTo>
                <a:lnTo>
                  <a:pt x="222250" y="285750"/>
                </a:lnTo>
                <a:lnTo>
                  <a:pt x="0" y="0"/>
                </a:lnTo>
                <a:close/>
              </a:path>
            </a:pathLst>
          </a:custGeom>
          <a:solidFill>
            <a:srgbClr val="EB253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8" name="任意多边形 52"/>
          <p:cNvSpPr>
            <a:spLocks noChangeArrowheads="1"/>
          </p:cNvSpPr>
          <p:nvPr/>
        </p:nvSpPr>
        <p:spPr bwMode="auto">
          <a:xfrm>
            <a:off x="4356100" y="860425"/>
            <a:ext cx="336550" cy="152400"/>
          </a:xfrm>
          <a:custGeom>
            <a:avLst/>
            <a:gdLst>
              <a:gd name="T0" fmla="*/ 0 w 336550"/>
              <a:gd name="T1" fmla="*/ 0 h 152400"/>
              <a:gd name="T2" fmla="*/ 336550 w 336550"/>
              <a:gd name="T3" fmla="*/ 12700 h 152400"/>
              <a:gd name="T4" fmla="*/ 165100 w 336550"/>
              <a:gd name="T5" fmla="*/ 152400 h 152400"/>
              <a:gd name="T6" fmla="*/ 0 w 336550"/>
              <a:gd name="T7" fmla="*/ 0 h 152400"/>
              <a:gd name="T8" fmla="*/ 0 60000 65536"/>
              <a:gd name="T9" fmla="*/ 0 60000 65536"/>
              <a:gd name="T10" fmla="*/ 0 60000 65536"/>
              <a:gd name="T11" fmla="*/ 0 60000 65536"/>
              <a:gd name="T12" fmla="*/ 0 w 336550"/>
              <a:gd name="T13" fmla="*/ 0 h 152400"/>
              <a:gd name="T14" fmla="*/ 336550 w 336550"/>
              <a:gd name="T15" fmla="*/ 152400 h 152400"/>
            </a:gdLst>
            <a:ahLst/>
            <a:cxnLst>
              <a:cxn ang="T8">
                <a:pos x="T0" y="T1"/>
              </a:cxn>
              <a:cxn ang="T9">
                <a:pos x="T2" y="T3"/>
              </a:cxn>
              <a:cxn ang="T10">
                <a:pos x="T4" y="T5"/>
              </a:cxn>
              <a:cxn ang="T11">
                <a:pos x="T6" y="T7"/>
              </a:cxn>
            </a:cxnLst>
            <a:rect l="T12" t="T13" r="T14" b="T15"/>
            <a:pathLst>
              <a:path w="336550" h="152400">
                <a:moveTo>
                  <a:pt x="0" y="0"/>
                </a:moveTo>
                <a:lnTo>
                  <a:pt x="336550" y="12700"/>
                </a:lnTo>
                <a:lnTo>
                  <a:pt x="165100" y="152400"/>
                </a:lnTo>
                <a:lnTo>
                  <a:pt x="0" y="0"/>
                </a:lnTo>
                <a:close/>
              </a:path>
            </a:pathLst>
          </a:custGeom>
          <a:solidFill>
            <a:srgbClr val="BE1F3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9" name="任意多边形 53"/>
          <p:cNvSpPr>
            <a:spLocks noChangeArrowheads="1"/>
          </p:cNvSpPr>
          <p:nvPr/>
        </p:nvSpPr>
        <p:spPr bwMode="auto">
          <a:xfrm>
            <a:off x="4552950" y="3282950"/>
            <a:ext cx="241300" cy="254000"/>
          </a:xfrm>
          <a:custGeom>
            <a:avLst/>
            <a:gdLst>
              <a:gd name="T0" fmla="*/ 0 w 241300"/>
              <a:gd name="T1" fmla="*/ 0 h 254000"/>
              <a:gd name="T2" fmla="*/ 241300 w 241300"/>
              <a:gd name="T3" fmla="*/ 69850 h 254000"/>
              <a:gd name="T4" fmla="*/ 95250 w 241300"/>
              <a:gd name="T5" fmla="*/ 254000 h 254000"/>
              <a:gd name="T6" fmla="*/ 0 w 241300"/>
              <a:gd name="T7" fmla="*/ 0 h 254000"/>
              <a:gd name="T8" fmla="*/ 0 60000 65536"/>
              <a:gd name="T9" fmla="*/ 0 60000 65536"/>
              <a:gd name="T10" fmla="*/ 0 60000 65536"/>
              <a:gd name="T11" fmla="*/ 0 60000 65536"/>
              <a:gd name="T12" fmla="*/ 0 w 241300"/>
              <a:gd name="T13" fmla="*/ 0 h 254000"/>
              <a:gd name="T14" fmla="*/ 241300 w 241300"/>
              <a:gd name="T15" fmla="*/ 254000 h 254000"/>
            </a:gdLst>
            <a:ahLst/>
            <a:cxnLst>
              <a:cxn ang="T8">
                <a:pos x="T0" y="T1"/>
              </a:cxn>
              <a:cxn ang="T9">
                <a:pos x="T2" y="T3"/>
              </a:cxn>
              <a:cxn ang="T10">
                <a:pos x="T4" y="T5"/>
              </a:cxn>
              <a:cxn ang="T11">
                <a:pos x="T6" y="T7"/>
              </a:cxn>
            </a:cxnLst>
            <a:rect l="T12" t="T13" r="T14" b="T15"/>
            <a:pathLst>
              <a:path w="241300" h="254000">
                <a:moveTo>
                  <a:pt x="0" y="0"/>
                </a:moveTo>
                <a:lnTo>
                  <a:pt x="241300" y="69850"/>
                </a:lnTo>
                <a:lnTo>
                  <a:pt x="95250" y="254000"/>
                </a:lnTo>
                <a:lnTo>
                  <a:pt x="0" y="0"/>
                </a:lnTo>
                <a:close/>
              </a:path>
            </a:pathLst>
          </a:cu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0" name="任意多边形 54"/>
          <p:cNvSpPr>
            <a:spLocks noChangeArrowheads="1"/>
          </p:cNvSpPr>
          <p:nvPr/>
        </p:nvSpPr>
        <p:spPr bwMode="auto">
          <a:xfrm>
            <a:off x="4933950" y="4114800"/>
            <a:ext cx="266700" cy="304800"/>
          </a:xfrm>
          <a:custGeom>
            <a:avLst/>
            <a:gdLst>
              <a:gd name="T0" fmla="*/ 234950 w 266700"/>
              <a:gd name="T1" fmla="*/ 0 h 304800"/>
              <a:gd name="T2" fmla="*/ 0 w 266700"/>
              <a:gd name="T3" fmla="*/ 304800 h 304800"/>
              <a:gd name="T4" fmla="*/ 266700 w 266700"/>
              <a:gd name="T5" fmla="*/ 241300 h 304800"/>
              <a:gd name="T6" fmla="*/ 234950 w 266700"/>
              <a:gd name="T7" fmla="*/ 0 h 304800"/>
              <a:gd name="T8" fmla="*/ 0 60000 65536"/>
              <a:gd name="T9" fmla="*/ 0 60000 65536"/>
              <a:gd name="T10" fmla="*/ 0 60000 65536"/>
              <a:gd name="T11" fmla="*/ 0 60000 65536"/>
              <a:gd name="T12" fmla="*/ 0 w 266700"/>
              <a:gd name="T13" fmla="*/ 0 h 304800"/>
              <a:gd name="T14" fmla="*/ 266700 w 266700"/>
              <a:gd name="T15" fmla="*/ 304800 h 304800"/>
            </a:gdLst>
            <a:ahLst/>
            <a:cxnLst>
              <a:cxn ang="T8">
                <a:pos x="T0" y="T1"/>
              </a:cxn>
              <a:cxn ang="T9">
                <a:pos x="T2" y="T3"/>
              </a:cxn>
              <a:cxn ang="T10">
                <a:pos x="T4" y="T5"/>
              </a:cxn>
              <a:cxn ang="T11">
                <a:pos x="T6" y="T7"/>
              </a:cxn>
            </a:cxnLst>
            <a:rect l="T12" t="T13" r="T14" b="T15"/>
            <a:pathLst>
              <a:path w="266700" h="304800">
                <a:moveTo>
                  <a:pt x="234950" y="0"/>
                </a:moveTo>
                <a:lnTo>
                  <a:pt x="0" y="304800"/>
                </a:lnTo>
                <a:lnTo>
                  <a:pt x="266700" y="241300"/>
                </a:lnTo>
                <a:lnTo>
                  <a:pt x="234950" y="0"/>
                </a:lnTo>
                <a:close/>
              </a:path>
            </a:pathLst>
          </a:custGeom>
          <a:solidFill>
            <a:srgbClr val="F8A11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1" name="任意多边形 55"/>
          <p:cNvSpPr>
            <a:spLocks noChangeArrowheads="1"/>
          </p:cNvSpPr>
          <p:nvPr/>
        </p:nvSpPr>
        <p:spPr bwMode="auto">
          <a:xfrm>
            <a:off x="5156200" y="4654550"/>
            <a:ext cx="184150" cy="260350"/>
          </a:xfrm>
          <a:custGeom>
            <a:avLst/>
            <a:gdLst>
              <a:gd name="T0" fmla="*/ 57150 w 184150"/>
              <a:gd name="T1" fmla="*/ 0 h 260350"/>
              <a:gd name="T2" fmla="*/ 0 w 184150"/>
              <a:gd name="T3" fmla="*/ 241300 h 260350"/>
              <a:gd name="T4" fmla="*/ 184150 w 184150"/>
              <a:gd name="T5" fmla="*/ 260350 h 260350"/>
              <a:gd name="T6" fmla="*/ 57150 w 184150"/>
              <a:gd name="T7" fmla="*/ 0 h 260350"/>
              <a:gd name="T8" fmla="*/ 0 60000 65536"/>
              <a:gd name="T9" fmla="*/ 0 60000 65536"/>
              <a:gd name="T10" fmla="*/ 0 60000 65536"/>
              <a:gd name="T11" fmla="*/ 0 60000 65536"/>
              <a:gd name="T12" fmla="*/ 0 w 184150"/>
              <a:gd name="T13" fmla="*/ 0 h 260350"/>
              <a:gd name="T14" fmla="*/ 184150 w 184150"/>
              <a:gd name="T15" fmla="*/ 260350 h 260350"/>
            </a:gdLst>
            <a:ahLst/>
            <a:cxnLst>
              <a:cxn ang="T8">
                <a:pos x="T0" y="T1"/>
              </a:cxn>
              <a:cxn ang="T9">
                <a:pos x="T2" y="T3"/>
              </a:cxn>
              <a:cxn ang="T10">
                <a:pos x="T4" y="T5"/>
              </a:cxn>
              <a:cxn ang="T11">
                <a:pos x="T6" y="T7"/>
              </a:cxn>
            </a:cxnLst>
            <a:rect l="T12" t="T13" r="T14" b="T15"/>
            <a:pathLst>
              <a:path w="184150" h="260350">
                <a:moveTo>
                  <a:pt x="57150" y="0"/>
                </a:moveTo>
                <a:lnTo>
                  <a:pt x="0" y="241300"/>
                </a:lnTo>
                <a:lnTo>
                  <a:pt x="184150" y="260350"/>
                </a:lnTo>
                <a:lnTo>
                  <a:pt x="57150" y="0"/>
                </a:lnTo>
                <a:close/>
              </a:path>
            </a:pathLst>
          </a:custGeom>
          <a:solidFill>
            <a:srgbClr val="EC25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2" name="任意多边形 56"/>
          <p:cNvSpPr>
            <a:spLocks noChangeArrowheads="1"/>
          </p:cNvSpPr>
          <p:nvPr/>
        </p:nvSpPr>
        <p:spPr bwMode="auto">
          <a:xfrm>
            <a:off x="5257800" y="4292600"/>
            <a:ext cx="190500" cy="120650"/>
          </a:xfrm>
          <a:custGeom>
            <a:avLst/>
            <a:gdLst>
              <a:gd name="T0" fmla="*/ 0 w 190500"/>
              <a:gd name="T1" fmla="*/ 19050 h 120650"/>
              <a:gd name="T2" fmla="*/ 0 w 190500"/>
              <a:gd name="T3" fmla="*/ 19050 h 120650"/>
              <a:gd name="T4" fmla="*/ 63500 w 190500"/>
              <a:gd name="T5" fmla="*/ 19050 h 120650"/>
              <a:gd name="T6" fmla="*/ 190500 w 190500"/>
              <a:gd name="T7" fmla="*/ 0 h 120650"/>
              <a:gd name="T8" fmla="*/ 19050 w 190500"/>
              <a:gd name="T9" fmla="*/ 120650 h 120650"/>
              <a:gd name="T10" fmla="*/ 0 w 190500"/>
              <a:gd name="T11" fmla="*/ 19050 h 120650"/>
              <a:gd name="T12" fmla="*/ 0 60000 65536"/>
              <a:gd name="T13" fmla="*/ 0 60000 65536"/>
              <a:gd name="T14" fmla="*/ 0 60000 65536"/>
              <a:gd name="T15" fmla="*/ 0 60000 65536"/>
              <a:gd name="T16" fmla="*/ 0 60000 65536"/>
              <a:gd name="T17" fmla="*/ 0 60000 65536"/>
              <a:gd name="T18" fmla="*/ 0 w 190500"/>
              <a:gd name="T19" fmla="*/ 0 h 120650"/>
              <a:gd name="T20" fmla="*/ 190500 w 190500"/>
              <a:gd name="T21" fmla="*/ 120650 h 120650"/>
            </a:gdLst>
            <a:ahLst/>
            <a:cxnLst>
              <a:cxn ang="T12">
                <a:pos x="T0" y="T1"/>
              </a:cxn>
              <a:cxn ang="T13">
                <a:pos x="T2" y="T3"/>
              </a:cxn>
              <a:cxn ang="T14">
                <a:pos x="T4" y="T5"/>
              </a:cxn>
              <a:cxn ang="T15">
                <a:pos x="T6" y="T7"/>
              </a:cxn>
              <a:cxn ang="T16">
                <a:pos x="T8" y="T9"/>
              </a:cxn>
              <a:cxn ang="T17">
                <a:pos x="T10" y="T11"/>
              </a:cxn>
            </a:cxnLst>
            <a:rect l="T18" t="T19" r="T20" b="T21"/>
            <a:pathLst>
              <a:path w="190500" h="120650">
                <a:moveTo>
                  <a:pt x="0" y="19050"/>
                </a:moveTo>
                <a:lnTo>
                  <a:pt x="0" y="19050"/>
                </a:lnTo>
                <a:lnTo>
                  <a:pt x="63500" y="19050"/>
                </a:lnTo>
                <a:lnTo>
                  <a:pt x="190500" y="0"/>
                </a:lnTo>
                <a:lnTo>
                  <a:pt x="19050" y="120650"/>
                </a:lnTo>
                <a:lnTo>
                  <a:pt x="0" y="19050"/>
                </a:lnTo>
                <a:close/>
              </a:path>
            </a:pathLst>
          </a:custGeom>
          <a:solidFill>
            <a:srgbClr val="F5942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3" name="任意多边形 57"/>
          <p:cNvSpPr>
            <a:spLocks noChangeArrowheads="1"/>
          </p:cNvSpPr>
          <p:nvPr/>
        </p:nvSpPr>
        <p:spPr bwMode="auto">
          <a:xfrm>
            <a:off x="4845050" y="3473450"/>
            <a:ext cx="114300" cy="120650"/>
          </a:xfrm>
          <a:custGeom>
            <a:avLst/>
            <a:gdLst>
              <a:gd name="T0" fmla="*/ 25400 w 114300"/>
              <a:gd name="T1" fmla="*/ 0 h 120650"/>
              <a:gd name="T2" fmla="*/ 114300 w 114300"/>
              <a:gd name="T3" fmla="*/ 120650 h 120650"/>
              <a:gd name="T4" fmla="*/ 0 w 114300"/>
              <a:gd name="T5" fmla="*/ 82550 h 120650"/>
              <a:gd name="T6" fmla="*/ 25400 w 114300"/>
              <a:gd name="T7" fmla="*/ 0 h 120650"/>
              <a:gd name="T8" fmla="*/ 0 60000 65536"/>
              <a:gd name="T9" fmla="*/ 0 60000 65536"/>
              <a:gd name="T10" fmla="*/ 0 60000 65536"/>
              <a:gd name="T11" fmla="*/ 0 60000 65536"/>
              <a:gd name="T12" fmla="*/ 0 w 114300"/>
              <a:gd name="T13" fmla="*/ 0 h 120650"/>
              <a:gd name="T14" fmla="*/ 114300 w 114300"/>
              <a:gd name="T15" fmla="*/ 120650 h 120650"/>
            </a:gdLst>
            <a:ahLst/>
            <a:cxnLst>
              <a:cxn ang="T8">
                <a:pos x="T0" y="T1"/>
              </a:cxn>
              <a:cxn ang="T9">
                <a:pos x="T2" y="T3"/>
              </a:cxn>
              <a:cxn ang="T10">
                <a:pos x="T4" y="T5"/>
              </a:cxn>
              <a:cxn ang="T11">
                <a:pos x="T6" y="T7"/>
              </a:cxn>
            </a:cxnLst>
            <a:rect l="T12" t="T13" r="T14" b="T15"/>
            <a:pathLst>
              <a:path w="114300" h="120650">
                <a:moveTo>
                  <a:pt x="25400" y="0"/>
                </a:moveTo>
                <a:lnTo>
                  <a:pt x="114300" y="120650"/>
                </a:lnTo>
                <a:lnTo>
                  <a:pt x="0" y="82550"/>
                </a:lnTo>
                <a:lnTo>
                  <a:pt x="25400" y="0"/>
                </a:lnTo>
                <a:close/>
              </a:path>
            </a:pathLst>
          </a:custGeom>
          <a:solidFill>
            <a:srgbClr val="EA524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4" name="任意多边形 58"/>
          <p:cNvSpPr>
            <a:spLocks noChangeArrowheads="1"/>
          </p:cNvSpPr>
          <p:nvPr/>
        </p:nvSpPr>
        <p:spPr bwMode="auto">
          <a:xfrm>
            <a:off x="3962400" y="317500"/>
            <a:ext cx="152400" cy="266700"/>
          </a:xfrm>
          <a:custGeom>
            <a:avLst/>
            <a:gdLst>
              <a:gd name="T0" fmla="*/ 127000 w 152400"/>
              <a:gd name="T1" fmla="*/ 0 h 266700"/>
              <a:gd name="T2" fmla="*/ 0 w 152400"/>
              <a:gd name="T3" fmla="*/ 57150 h 266700"/>
              <a:gd name="T4" fmla="*/ 152400 w 152400"/>
              <a:gd name="T5" fmla="*/ 266700 h 266700"/>
              <a:gd name="T6" fmla="*/ 127000 w 152400"/>
              <a:gd name="T7" fmla="*/ 0 h 266700"/>
              <a:gd name="T8" fmla="*/ 0 60000 65536"/>
              <a:gd name="T9" fmla="*/ 0 60000 65536"/>
              <a:gd name="T10" fmla="*/ 0 60000 65536"/>
              <a:gd name="T11" fmla="*/ 0 60000 65536"/>
              <a:gd name="T12" fmla="*/ 0 w 152400"/>
              <a:gd name="T13" fmla="*/ 0 h 266700"/>
              <a:gd name="T14" fmla="*/ 152400 w 152400"/>
              <a:gd name="T15" fmla="*/ 266700 h 266700"/>
            </a:gdLst>
            <a:ahLst/>
            <a:cxnLst>
              <a:cxn ang="T8">
                <a:pos x="T0" y="T1"/>
              </a:cxn>
              <a:cxn ang="T9">
                <a:pos x="T2" y="T3"/>
              </a:cxn>
              <a:cxn ang="T10">
                <a:pos x="T4" y="T5"/>
              </a:cxn>
              <a:cxn ang="T11">
                <a:pos x="T6" y="T7"/>
              </a:cxn>
            </a:cxnLst>
            <a:rect l="T12" t="T13" r="T14" b="T15"/>
            <a:pathLst>
              <a:path w="152400" h="266700">
                <a:moveTo>
                  <a:pt x="127000" y="0"/>
                </a:moveTo>
                <a:lnTo>
                  <a:pt x="0" y="57150"/>
                </a:lnTo>
                <a:lnTo>
                  <a:pt x="152400" y="266700"/>
                </a:lnTo>
                <a:lnTo>
                  <a:pt x="127000" y="0"/>
                </a:lnTo>
                <a:close/>
              </a:path>
            </a:pathLst>
          </a:custGeom>
          <a:solidFill>
            <a:srgbClr val="260D0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5" name="任意多边形 65"/>
          <p:cNvSpPr>
            <a:spLocks noChangeArrowheads="1"/>
          </p:cNvSpPr>
          <p:nvPr/>
        </p:nvSpPr>
        <p:spPr bwMode="auto">
          <a:xfrm>
            <a:off x="5448300" y="5029200"/>
            <a:ext cx="152400" cy="266700"/>
          </a:xfrm>
          <a:custGeom>
            <a:avLst/>
            <a:gdLst>
              <a:gd name="T0" fmla="*/ 127000 w 152400"/>
              <a:gd name="T1" fmla="*/ 0 h 266700"/>
              <a:gd name="T2" fmla="*/ 0 w 152400"/>
              <a:gd name="T3" fmla="*/ 57150 h 266700"/>
              <a:gd name="T4" fmla="*/ 152400 w 152400"/>
              <a:gd name="T5" fmla="*/ 266700 h 266700"/>
              <a:gd name="T6" fmla="*/ 127000 w 152400"/>
              <a:gd name="T7" fmla="*/ 0 h 266700"/>
              <a:gd name="T8" fmla="*/ 0 60000 65536"/>
              <a:gd name="T9" fmla="*/ 0 60000 65536"/>
              <a:gd name="T10" fmla="*/ 0 60000 65536"/>
              <a:gd name="T11" fmla="*/ 0 60000 65536"/>
              <a:gd name="T12" fmla="*/ 0 w 152400"/>
              <a:gd name="T13" fmla="*/ 0 h 266700"/>
              <a:gd name="T14" fmla="*/ 152400 w 152400"/>
              <a:gd name="T15" fmla="*/ 266700 h 266700"/>
            </a:gdLst>
            <a:ahLst/>
            <a:cxnLst>
              <a:cxn ang="T8">
                <a:pos x="T0" y="T1"/>
              </a:cxn>
              <a:cxn ang="T9">
                <a:pos x="T2" y="T3"/>
              </a:cxn>
              <a:cxn ang="T10">
                <a:pos x="T4" y="T5"/>
              </a:cxn>
              <a:cxn ang="T11">
                <a:pos x="T6" y="T7"/>
              </a:cxn>
            </a:cxnLst>
            <a:rect l="T12" t="T13" r="T14" b="T15"/>
            <a:pathLst>
              <a:path w="152400" h="266700">
                <a:moveTo>
                  <a:pt x="127000" y="0"/>
                </a:moveTo>
                <a:lnTo>
                  <a:pt x="0" y="57150"/>
                </a:lnTo>
                <a:lnTo>
                  <a:pt x="152400" y="266700"/>
                </a:lnTo>
                <a:lnTo>
                  <a:pt x="127000" y="0"/>
                </a:lnTo>
                <a:close/>
              </a:path>
            </a:pathLst>
          </a:custGeom>
          <a:solidFill>
            <a:srgbClr val="BE1F3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6"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7"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9"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 name="TextBox 6"/>
          <p:cNvSpPr txBox="1">
            <a:spLocks noChangeArrowheads="1"/>
          </p:cNvSpPr>
          <p:nvPr/>
        </p:nvSpPr>
        <p:spPr bwMode="auto">
          <a:xfrm>
            <a:off x="5231414" y="1194593"/>
            <a:ext cx="375772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vl2pPr/>
            <a:lvl3pPr/>
            <a:lvl4pPr/>
            <a:lvl5pPr/>
            <a:lvl6pPr/>
            <a:lvl7pPr/>
            <a:lvl8pPr/>
            <a:lvl9pPr/>
          </a:lstStyle>
          <a:p>
            <a:r>
              <a:rPr lang="zh-CN" altLang="en-US" sz="2400" dirty="0">
                <a:solidFill>
                  <a:srgbClr val="03A9F3"/>
                </a:solidFill>
                <a:latin typeface="Arial" panose="020B0604020202020204" pitchFamily="34" charset="0"/>
                <a:ea typeface="微软雅黑" panose="020B0503020204020204" pitchFamily="34" charset="-122"/>
                <a:sym typeface="Arial" panose="020B0604020202020204" pitchFamily="34" charset="0"/>
              </a:rPr>
              <a:t>企业的性质与利益相关者</a:t>
            </a:r>
            <a:endParaRPr lang="zh-CN" sz="24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TextBox 6"/>
          <p:cNvSpPr txBox="1">
            <a:spLocks noChangeArrowheads="1"/>
          </p:cNvSpPr>
          <p:nvPr/>
        </p:nvSpPr>
        <p:spPr bwMode="auto">
          <a:xfrm>
            <a:off x="5217886" y="2445692"/>
            <a:ext cx="238696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vl2pPr/>
            <a:lvl3pPr/>
            <a:lvl4pPr/>
            <a:lvl5pPr/>
            <a:lvl6pPr/>
            <a:lvl7pPr/>
            <a:lvl8pPr/>
            <a:lvl9pPr/>
          </a:lstStyle>
          <a:p>
            <a:r>
              <a:rPr lang="zh-CN" altLang="en-US" sz="2400"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商业伦理</a:t>
            </a:r>
            <a:endParaRPr lang="zh-CN" sz="24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TextBox 6"/>
          <p:cNvSpPr txBox="1">
            <a:spLocks noChangeArrowheads="1"/>
          </p:cNvSpPr>
          <p:nvPr/>
        </p:nvSpPr>
        <p:spPr bwMode="auto">
          <a:xfrm>
            <a:off x="5242447" y="3686175"/>
            <a:ext cx="233784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vl2pPr/>
            <a:lvl3pPr/>
            <a:lvl4pPr/>
            <a:lvl5pPr/>
            <a:lvl6pPr/>
            <a:lvl7pPr/>
            <a:lvl8pPr/>
            <a:lvl9pPr/>
          </a:lstStyle>
          <a:p>
            <a:r>
              <a:rPr lang="zh-CN" altLang="en-US" sz="2400"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企业社会责任</a:t>
            </a:r>
            <a:endParaRPr lang="zh-CN" sz="24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1" name="组合 10"/>
          <p:cNvGrpSpPr/>
          <p:nvPr/>
        </p:nvGrpSpPr>
        <p:grpSpPr>
          <a:xfrm flipV="1">
            <a:off x="4711732" y="1204247"/>
            <a:ext cx="334355" cy="803015"/>
            <a:chOff x="581025" y="-431160"/>
            <a:chExt cx="1619642" cy="3889866"/>
          </a:xfrm>
        </p:grpSpPr>
        <p:grpSp>
          <p:nvGrpSpPr>
            <p:cNvPr id="12" name="组合 11"/>
            <p:cNvGrpSpPr/>
            <p:nvPr/>
          </p:nvGrpSpPr>
          <p:grpSpPr>
            <a:xfrm>
              <a:off x="581025" y="-431160"/>
              <a:ext cx="1619642" cy="3889866"/>
              <a:chOff x="6651335" y="-335489"/>
              <a:chExt cx="1360493" cy="3190953"/>
            </a:xfrm>
            <a:effectLst/>
          </p:grpSpPr>
          <p:grpSp>
            <p:nvGrpSpPr>
              <p:cNvPr id="14" name="组合 13"/>
              <p:cNvGrpSpPr/>
              <p:nvPr/>
            </p:nvGrpSpPr>
            <p:grpSpPr>
              <a:xfrm>
                <a:off x="6651335" y="1494971"/>
                <a:ext cx="1360493" cy="1360493"/>
                <a:chOff x="304800" y="673100"/>
                <a:chExt cx="4000500" cy="4000500"/>
              </a:xfrm>
              <a:effectLst>
                <a:outerShdw blurRad="444500" dist="254000" dir="8100000" algn="tr" rotWithShape="0">
                  <a:prstClr val="black">
                    <a:alpha val="50000"/>
                  </a:prstClr>
                </a:outerShdw>
              </a:effectLst>
            </p:grpSpPr>
            <p:sp>
              <p:nvSpPr>
                <p:cNvPr id="16" name="同心圆 15"/>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椭圆 16"/>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15" name="TextBox 14"/>
              <p:cNvSpPr txBox="1"/>
              <p:nvPr/>
            </p:nvSpPr>
            <p:spPr>
              <a:xfrm>
                <a:off x="6854606" y="-335489"/>
                <a:ext cx="751672" cy="2568336"/>
              </a:xfrm>
              <a:prstGeom prst="rect">
                <a:avLst/>
              </a:prstGeom>
              <a:noFill/>
            </p:spPr>
            <p:txBody>
              <a:bodyPr wrap="none" rtlCol="0">
                <a:spAutoFit/>
              </a:bodyPr>
              <a:lstStyle/>
              <a:p>
                <a:endParaRPr lang="zh-CN" altLang="en-US" sz="3600"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13" name="椭圆 12"/>
            <p:cNvSpPr/>
            <p:nvPr/>
          </p:nvSpPr>
          <p:spPr>
            <a:xfrm>
              <a:off x="847487" y="2110889"/>
              <a:ext cx="1086718" cy="1086719"/>
            </a:xfrm>
            <a:prstGeom prst="ellipse">
              <a:avLst/>
            </a:prstGeom>
            <a:solidFill>
              <a:srgbClr val="03A9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6" name="组合 25"/>
          <p:cNvGrpSpPr/>
          <p:nvPr/>
        </p:nvGrpSpPr>
        <p:grpSpPr>
          <a:xfrm flipV="1">
            <a:off x="4711732" y="2505337"/>
            <a:ext cx="334355" cy="803015"/>
            <a:chOff x="581025" y="-431160"/>
            <a:chExt cx="1619642" cy="3889866"/>
          </a:xfrm>
        </p:grpSpPr>
        <p:grpSp>
          <p:nvGrpSpPr>
            <p:cNvPr id="27" name="组合 26"/>
            <p:cNvGrpSpPr/>
            <p:nvPr/>
          </p:nvGrpSpPr>
          <p:grpSpPr>
            <a:xfrm>
              <a:off x="581025" y="-431160"/>
              <a:ext cx="1619642" cy="3889866"/>
              <a:chOff x="6651335" y="-335489"/>
              <a:chExt cx="1360493" cy="3190953"/>
            </a:xfrm>
            <a:effectLst/>
          </p:grpSpPr>
          <p:grpSp>
            <p:nvGrpSpPr>
              <p:cNvPr id="29" name="组合 28"/>
              <p:cNvGrpSpPr/>
              <p:nvPr/>
            </p:nvGrpSpPr>
            <p:grpSpPr>
              <a:xfrm>
                <a:off x="6651335" y="1494971"/>
                <a:ext cx="1360493" cy="1360493"/>
                <a:chOff x="304800" y="673100"/>
                <a:chExt cx="4000500" cy="4000500"/>
              </a:xfrm>
              <a:effectLst>
                <a:outerShdw blurRad="444500" dist="254000" dir="8100000" algn="tr" rotWithShape="0">
                  <a:prstClr val="black">
                    <a:alpha val="50000"/>
                  </a:prstClr>
                </a:outerShdw>
              </a:effectLst>
            </p:grpSpPr>
            <p:sp>
              <p:nvSpPr>
                <p:cNvPr id="31" name="同心圆 30"/>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32" name="椭圆 31"/>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30" name="TextBox 29"/>
              <p:cNvSpPr txBox="1"/>
              <p:nvPr/>
            </p:nvSpPr>
            <p:spPr>
              <a:xfrm>
                <a:off x="6854606" y="-335489"/>
                <a:ext cx="751672" cy="2568336"/>
              </a:xfrm>
              <a:prstGeom prst="rect">
                <a:avLst/>
              </a:prstGeom>
              <a:noFill/>
            </p:spPr>
            <p:txBody>
              <a:bodyPr wrap="none" rtlCol="0">
                <a:spAutoFit/>
              </a:bodyPr>
              <a:lstStyle/>
              <a:p>
                <a:endParaRPr lang="zh-CN" altLang="en-US" sz="3600"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28" name="椭圆 27"/>
            <p:cNvSpPr/>
            <p:nvPr/>
          </p:nvSpPr>
          <p:spPr>
            <a:xfrm>
              <a:off x="847487" y="2110889"/>
              <a:ext cx="1086718" cy="1086719"/>
            </a:xfrm>
            <a:prstGeom prst="ellipse">
              <a:avLst/>
            </a:prstGeom>
            <a:solidFill>
              <a:srgbClr val="03A9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0" name="组合 39"/>
          <p:cNvGrpSpPr/>
          <p:nvPr/>
        </p:nvGrpSpPr>
        <p:grpSpPr>
          <a:xfrm flipV="1">
            <a:off x="4699762" y="3745820"/>
            <a:ext cx="334355" cy="803015"/>
            <a:chOff x="581025" y="-431160"/>
            <a:chExt cx="1619642" cy="3889866"/>
          </a:xfrm>
        </p:grpSpPr>
        <p:grpSp>
          <p:nvGrpSpPr>
            <p:cNvPr id="41" name="组合 40"/>
            <p:cNvGrpSpPr/>
            <p:nvPr/>
          </p:nvGrpSpPr>
          <p:grpSpPr>
            <a:xfrm>
              <a:off x="581025" y="-431160"/>
              <a:ext cx="1619642" cy="3889866"/>
              <a:chOff x="6651335" y="-335489"/>
              <a:chExt cx="1360493" cy="3190953"/>
            </a:xfrm>
            <a:effectLst/>
          </p:grpSpPr>
          <p:grpSp>
            <p:nvGrpSpPr>
              <p:cNvPr id="43" name="组合 42"/>
              <p:cNvGrpSpPr/>
              <p:nvPr/>
            </p:nvGrpSpPr>
            <p:grpSpPr>
              <a:xfrm>
                <a:off x="6651335" y="1494971"/>
                <a:ext cx="1360493" cy="1360493"/>
                <a:chOff x="304800" y="673100"/>
                <a:chExt cx="4000500" cy="4000500"/>
              </a:xfrm>
              <a:effectLst>
                <a:outerShdw blurRad="444500" dist="254000" dir="8100000" algn="tr" rotWithShape="0">
                  <a:prstClr val="black">
                    <a:alpha val="50000"/>
                  </a:prstClr>
                </a:outerShdw>
              </a:effectLst>
            </p:grpSpPr>
            <p:sp>
              <p:nvSpPr>
                <p:cNvPr id="45" name="同心圆 44"/>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46" name="椭圆 45"/>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44" name="TextBox 43"/>
              <p:cNvSpPr txBox="1"/>
              <p:nvPr/>
            </p:nvSpPr>
            <p:spPr>
              <a:xfrm>
                <a:off x="6854606" y="-335489"/>
                <a:ext cx="751672" cy="2568336"/>
              </a:xfrm>
              <a:prstGeom prst="rect">
                <a:avLst/>
              </a:prstGeom>
              <a:noFill/>
            </p:spPr>
            <p:txBody>
              <a:bodyPr wrap="none" rtlCol="0">
                <a:spAutoFit/>
              </a:bodyPr>
              <a:lstStyle/>
              <a:p>
                <a:endParaRPr lang="zh-CN" altLang="en-US" sz="3600"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42" name="椭圆 41"/>
            <p:cNvSpPr/>
            <p:nvPr/>
          </p:nvSpPr>
          <p:spPr>
            <a:xfrm>
              <a:off x="847487" y="2110889"/>
              <a:ext cx="1086718" cy="1086719"/>
            </a:xfrm>
            <a:prstGeom prst="ellipse">
              <a:avLst/>
            </a:prstGeom>
            <a:solidFill>
              <a:srgbClr val="03A9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47" name="TextBox 46"/>
          <p:cNvSpPr txBox="1"/>
          <p:nvPr/>
        </p:nvSpPr>
        <p:spPr>
          <a:xfrm>
            <a:off x="1254087" y="1874319"/>
            <a:ext cx="1159292" cy="677108"/>
          </a:xfrm>
          <a:prstGeom prst="rect">
            <a:avLst/>
          </a:prstGeom>
          <a:noFill/>
        </p:spPr>
        <p:txBody>
          <a:bodyPr wrap="none" rtlCol="0">
            <a:spAutoFit/>
          </a:bodyPr>
          <a:lstStyle/>
          <a:p>
            <a:pPr algn="ctr" defTabSz="914400" eaLnBrk="1" fontAlgn="auto" hangingPunct="1">
              <a:spcBef>
                <a:spcPts val="0"/>
              </a:spcBef>
              <a:spcAft>
                <a:spcPts val="0"/>
              </a:spcAft>
            </a:pPr>
            <a:r>
              <a:rPr lang="zh-CN" altLang="en-US" sz="3800" b="1" dirty="0">
                <a:solidFill>
                  <a:schemeClr val="bg1"/>
                </a:solidFill>
                <a:latin typeface="Arial" panose="020B0604020202020204" pitchFamily="34" charset="0"/>
                <a:ea typeface="微软雅黑" panose="020B0503020204020204" pitchFamily="34" charset="-122"/>
                <a:sym typeface="Arial" panose="020B0604020202020204" pitchFamily="34" charset="0"/>
              </a:rPr>
              <a:t>目录</a:t>
            </a:r>
            <a:endParaRPr lang="zh-CN" altLang="en-US" sz="38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 name="think-cell Slide" r:id="rId2" imgW="5715" imgH="5715" progId="">
                  <p:embed/>
                </p:oleObj>
              </mc:Choice>
              <mc:Fallback>
                <p:oleObj name="think-cell Slide" r:id="rId2" imgW="5715" imgH="5715" progId="">
                  <p:embed/>
                  <p:pic>
                    <p:nvPicPr>
                      <p:cNvPr id="0" name="图片 6144"/>
                      <p:cNvPicPr>
                        <a:picLocks noChangeAspect="1"/>
                      </p:cNvPicPr>
                      <p:nvPr/>
                    </p:nvPicPr>
                    <p:blipFill>
                      <a:blip r:embed="rId3"/>
                      <a:stretch>
                        <a:fillRect/>
                      </a:stretch>
                    </p:blipFill>
                    <p:spPr>
                      <a:xfrm>
                        <a:off x="1588" y="1588"/>
                        <a:ext cx="1587" cy="1587"/>
                      </a:xfrm>
                      <a:prstGeom prst="rect">
                        <a:avLst/>
                      </a:prstGeom>
                      <a:noFill/>
                      <a:ln w="9525">
                        <a:noFill/>
                      </a:ln>
                    </p:spPr>
                  </p:pic>
                </p:oleObj>
              </mc:Fallback>
            </mc:AlternateContent>
          </a:graphicData>
        </a:graphic>
      </p:graphicFrame>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2490" y="140335"/>
            <a:ext cx="2667635" cy="364490"/>
          </a:xfrm>
          <a:prstGeom prst="homePlate">
            <a:avLst>
              <a:gd name="adj" fmla="val 34324"/>
            </a:avLst>
          </a:prstGeom>
        </p:spPr>
      </p:pic>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TextBox 27"/>
          <p:cNvSpPr txBox="1"/>
          <p:nvPr/>
        </p:nvSpPr>
        <p:spPr>
          <a:xfrm>
            <a:off x="281268" y="1333321"/>
            <a:ext cx="8151532" cy="1124585"/>
          </a:xfrm>
          <a:prstGeom prst="rect">
            <a:avLst/>
          </a:prstGeom>
          <a:noFill/>
        </p:spPr>
        <p:txBody>
          <a:bodyPr wrap="square" rtlCol="0">
            <a:spAutoFit/>
          </a:bodyPr>
          <a:lstStyle/>
          <a:p>
            <a:pPr>
              <a:lnSpc>
                <a:spcPct val="120000"/>
              </a:lnSpc>
            </a:pP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20</a:t>
            </a:r>
            <a:r>
              <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世纪</a:t>
            </a: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80</a:t>
            </a:r>
            <a:r>
              <a:rPr lang="zh-CN" altLang="en-US" sz="1400"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年代，商业</a:t>
            </a:r>
            <a:r>
              <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伦理已经明确确立了其作为学术研究领域的地位</a:t>
            </a:r>
            <a:r>
              <a:rPr lang="zh-CN" altLang="en-US" sz="1400"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a:lnSpc>
                <a:spcPct val="120000"/>
              </a:lnSpc>
            </a:pPr>
            <a:r>
              <a:rPr lang="zh-CN"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1</a:t>
            </a:r>
            <a:r>
              <a:rPr lang="zh-CN"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研究商业伦理的国家和地区的范围不断扩大，从美国扩展到西欧、日本、澳大利亚等经济发达国家。（</a:t>
            </a: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2</a:t>
            </a:r>
            <a:r>
              <a:rPr lang="zh-CN"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企业伦理已成为必修课在哲学社会科学系、神学院及商学院中开设。（</a:t>
            </a: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3</a:t>
            </a:r>
            <a:r>
              <a:rPr lang="zh-CN"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对商业伦理的研究更深入，从原来狭隘的追逐利润，扩大为经济责任、法律责任、道德责任、环保责任及社会责任</a:t>
            </a:r>
            <a:r>
              <a:rPr lang="zh-CN" altLang="zh-CN" sz="1400"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等</a:t>
            </a:r>
            <a:endPar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29" name="TextBox 28"/>
          <p:cNvSpPr txBox="1"/>
          <p:nvPr/>
        </p:nvSpPr>
        <p:spPr>
          <a:xfrm>
            <a:off x="281268" y="963989"/>
            <a:ext cx="2240280" cy="368300"/>
          </a:xfrm>
          <a:prstGeom prst="rect">
            <a:avLst/>
          </a:prstGeom>
          <a:noFill/>
        </p:spPr>
        <p:txBody>
          <a:bodyPr wrap="none" rtlCol="0">
            <a:spAutoFit/>
          </a:bodyPr>
          <a:lstStyle/>
          <a:p>
            <a:r>
              <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rPr>
              <a:t>第四</a:t>
            </a:r>
            <a:r>
              <a:rPr lang="zh-CN" altLang="en-US"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阶段：成熟</a:t>
            </a:r>
            <a:r>
              <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rPr>
              <a:t>时期</a:t>
            </a:r>
            <a:endPar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36" name="TextBox 35"/>
          <p:cNvSpPr txBox="1"/>
          <p:nvPr/>
        </p:nvSpPr>
        <p:spPr>
          <a:xfrm>
            <a:off x="281268" y="3119659"/>
            <a:ext cx="8456332" cy="1124585"/>
          </a:xfrm>
          <a:prstGeom prst="rect">
            <a:avLst/>
          </a:prstGeom>
          <a:noFill/>
        </p:spPr>
        <p:txBody>
          <a:bodyPr wrap="square" rtlCol="0">
            <a:spAutoFit/>
          </a:bodyPr>
          <a:lstStyle/>
          <a:p>
            <a:pPr>
              <a:lnSpc>
                <a:spcPct val="120000"/>
              </a:lnSpc>
            </a:pP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20</a:t>
            </a:r>
            <a:r>
              <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世纪</a:t>
            </a: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90</a:t>
            </a:r>
            <a:r>
              <a:rPr lang="zh-CN" altLang="en-US" sz="1400"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年代，（</a:t>
            </a: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1</a:t>
            </a:r>
            <a:r>
              <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对商业伦理的研究上，从发达国家延伸及扩展到发展中国家，如东欧、南美及亚洲等众多国家。（</a:t>
            </a: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2</a:t>
            </a:r>
            <a:r>
              <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商业伦理涉及的范围进一步扩大，从原来只对某国家、某地区企业伦理的研究，扩展到对不同地区、不同国家商业伦理的比较研究。（</a:t>
            </a:r>
            <a:r>
              <a:rPr lang="en-US" altLang="zh-CN"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3</a:t>
            </a:r>
            <a:r>
              <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在研究商业伦理的方法上，采用了跨学科的研究方法，即综合应用社会学、经济学、法学、管理学、心理学等学科中的新方法，使商业伦理成为综合的学科</a:t>
            </a:r>
            <a:endParaRPr lang="zh-CN" altLang="en-US" sz="14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37" name="TextBox 36"/>
          <p:cNvSpPr txBox="1"/>
          <p:nvPr/>
        </p:nvSpPr>
        <p:spPr>
          <a:xfrm>
            <a:off x="281268" y="2750327"/>
            <a:ext cx="2468880" cy="368300"/>
          </a:xfrm>
          <a:prstGeom prst="rect">
            <a:avLst/>
          </a:prstGeom>
          <a:noFill/>
        </p:spPr>
        <p:txBody>
          <a:bodyPr wrap="none" rtlCol="0">
            <a:spAutoFit/>
          </a:bodyPr>
          <a:lstStyle/>
          <a:p>
            <a:r>
              <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rPr>
              <a:t>第五</a:t>
            </a:r>
            <a:r>
              <a:rPr lang="zh-CN" altLang="en-US"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阶段：全球化</a:t>
            </a:r>
            <a:r>
              <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rPr>
              <a:t>时期</a:t>
            </a:r>
            <a:endPar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630555" y="0"/>
            <a:ext cx="2909570" cy="565785"/>
          </a:xfrm>
        </p:spPr>
        <p:txBody>
          <a:bodyPr>
            <a:noAutofit/>
          </a:bodyPr>
          <a:p>
            <a:r>
              <a:rPr lang="zh-CN" altLang="en-US" sz="16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商业伦理在国外的发展</a:t>
            </a:r>
            <a:endParaRPr lang="zh-CN" altLang="en-US" sz="1600" b="1" spc="3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7"/>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 name="think-cell Slide" r:id="rId2" imgW="5715" imgH="5715" progId="">
                  <p:embed/>
                </p:oleObj>
              </mc:Choice>
              <mc:Fallback>
                <p:oleObj name="think-cell Slide" r:id="rId2" imgW="5715" imgH="5715" progId="">
                  <p:embed/>
                  <p:pic>
                    <p:nvPicPr>
                      <p:cNvPr id="0" name="图片 7168"/>
                      <p:cNvPicPr>
                        <a:picLocks noChangeAspect="1"/>
                      </p:cNvPicPr>
                      <p:nvPr/>
                    </p:nvPicPr>
                    <p:blipFill>
                      <a:blip r:embed="rId3"/>
                      <a:stretch>
                        <a:fillRect/>
                      </a:stretch>
                    </p:blipFill>
                    <p:spPr>
                      <a:xfrm>
                        <a:off x="1588" y="1588"/>
                        <a:ext cx="1587" cy="1587"/>
                      </a:xfrm>
                      <a:prstGeom prst="rect">
                        <a:avLst/>
                      </a:prstGeom>
                      <a:noFill/>
                      <a:ln w="9525">
                        <a:noFill/>
                      </a:ln>
                    </p:spPr>
                  </p:pic>
                </p:oleObj>
              </mc:Fallback>
            </mc:AlternateContent>
          </a:graphicData>
        </a:graphic>
      </p:graphicFrame>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2490" y="140335"/>
            <a:ext cx="2541905" cy="364490"/>
          </a:xfrm>
          <a:prstGeom prst="homePlate">
            <a:avLst>
              <a:gd name="adj" fmla="val 34324"/>
            </a:avLst>
          </a:prstGeom>
        </p:spPr>
      </p:pic>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TextBox 27"/>
          <p:cNvSpPr txBox="1"/>
          <p:nvPr/>
        </p:nvSpPr>
        <p:spPr>
          <a:xfrm>
            <a:off x="281268" y="1333321"/>
            <a:ext cx="8029612" cy="1124585"/>
          </a:xfrm>
          <a:prstGeom prst="rect">
            <a:avLst/>
          </a:prstGeom>
          <a:noFill/>
        </p:spPr>
        <p:txBody>
          <a:bodyPr wrap="square" rtlCol="0">
            <a:spAutoFit/>
          </a:bodyPr>
          <a:lstStyle/>
          <a:p>
            <a:pPr>
              <a:lnSpc>
                <a:spcPct val="120000"/>
              </a:lnSpc>
              <a:buFont typeface="Wingdings" panose="05000000000000000000" pitchFamily="2" charset="2"/>
              <a:buChar char="l"/>
            </a:pP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首先，在观念上需要避免对商业伦理作用的极端化认识，摒弃商业伦理“无用论”和“万能论”</a:t>
            </a: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a:t>
            </a:r>
            <a:endParaRPr lang="en-US" altLang="zh-CN"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endParaRPr>
          </a:p>
          <a:p>
            <a:pPr>
              <a:lnSpc>
                <a:spcPct val="120000"/>
              </a:lnSpc>
              <a:buFont typeface="Wingdings" panose="05000000000000000000" pitchFamily="2" charset="2"/>
              <a:buChar char="l"/>
            </a:pP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其次，“道德缄默”与不恰当的“道德发声”都是对商业伦理的错误</a:t>
            </a: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理解</a:t>
            </a:r>
            <a:endParaRPr lang="en-US" altLang="zh-CN"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a:lnSpc>
                <a:spcPct val="120000"/>
              </a:lnSpc>
              <a:buFont typeface="Wingdings" panose="05000000000000000000" pitchFamily="2" charset="2"/>
              <a:buChar char="l"/>
            </a:pP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企业商业伦理的精神构建是一个长期复杂的过程，绝非一朝一夕能完成，而是企业内部全体成员形成共识、多方参与、持续行动的</a:t>
            </a: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过程</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p:txBody>
      </p:sp>
      <p:sp>
        <p:nvSpPr>
          <p:cNvPr id="29" name="TextBox 28"/>
          <p:cNvSpPr txBox="1"/>
          <p:nvPr/>
        </p:nvSpPr>
        <p:spPr>
          <a:xfrm>
            <a:off x="281268" y="963989"/>
            <a:ext cx="3383280" cy="368300"/>
          </a:xfrm>
          <a:prstGeom prst="rect">
            <a:avLst/>
          </a:prstGeom>
          <a:noFill/>
        </p:spPr>
        <p:txBody>
          <a:bodyPr wrap="none" rtlCol="0">
            <a:spAutoFit/>
          </a:bodyPr>
          <a:lstStyle/>
          <a:p>
            <a:r>
              <a:rPr lang="zh-CN" altLang="en-US" b="1" dirty="0">
                <a:solidFill>
                  <a:srgbClr val="0067B0"/>
                </a:solidFill>
                <a:latin typeface="Arial" panose="020B0604020202020204" pitchFamily="34" charset="0"/>
                <a:ea typeface="微软雅黑" panose="020B0503020204020204" pitchFamily="34" charset="-122"/>
                <a:sym typeface="Arial" panose="020B0604020202020204" pitchFamily="34" charset="0"/>
              </a:rPr>
              <a:t>（一）正确认识商业伦理的内涵</a:t>
            </a:r>
            <a:endParaRPr lang="zh-CN" altLang="en-US" b="1"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36" name="TextBox 35"/>
          <p:cNvSpPr txBox="1"/>
          <p:nvPr/>
        </p:nvSpPr>
        <p:spPr>
          <a:xfrm>
            <a:off x="281268" y="3119659"/>
            <a:ext cx="7884832" cy="607695"/>
          </a:xfrm>
          <a:prstGeom prst="rect">
            <a:avLst/>
          </a:prstGeom>
          <a:noFill/>
        </p:spPr>
        <p:txBody>
          <a:bodyPr wrap="square" rtlCol="0">
            <a:spAutoFit/>
          </a:bodyPr>
          <a:lstStyle/>
          <a:p>
            <a:pPr>
              <a:lnSpc>
                <a:spcPct val="120000"/>
              </a:lnSpc>
              <a:spcBef>
                <a:spcPts val="600"/>
              </a:spcBef>
              <a:buFont typeface="Wingdings" panose="05000000000000000000" pitchFamily="2" charset="2"/>
              <a:buChar char="l"/>
            </a:pP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企业家伦理外化表现为，在一定时代背景和社会关系下，在企业家的经营管理实践中所形成的道德品质和能力的综合与统一，企业家的伦理素质内含了企业家特有的道德品质以及经营</a:t>
            </a: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理念</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p:txBody>
      </p:sp>
      <p:sp>
        <p:nvSpPr>
          <p:cNvPr id="37" name="TextBox 36"/>
          <p:cNvSpPr txBox="1"/>
          <p:nvPr/>
        </p:nvSpPr>
        <p:spPr>
          <a:xfrm>
            <a:off x="281268" y="2750327"/>
            <a:ext cx="2697480" cy="368300"/>
          </a:xfrm>
          <a:prstGeom prst="rect">
            <a:avLst/>
          </a:prstGeom>
          <a:noFill/>
        </p:spPr>
        <p:txBody>
          <a:bodyPr wrap="none" rtlCol="0">
            <a:spAutoFit/>
          </a:bodyPr>
          <a:lstStyle/>
          <a:p>
            <a:r>
              <a:rPr lang="zh-CN" altLang="en-US" b="1" dirty="0">
                <a:solidFill>
                  <a:srgbClr val="0067B0"/>
                </a:solidFill>
                <a:latin typeface="Arial" panose="020B0604020202020204" pitchFamily="34" charset="0"/>
                <a:ea typeface="微软雅黑" panose="020B0503020204020204" pitchFamily="34" charset="-122"/>
                <a:sym typeface="Arial" panose="020B0604020202020204" pitchFamily="34" charset="0"/>
              </a:rPr>
              <a:t>（二）企业家的道德修养</a:t>
            </a:r>
            <a:endParaRPr lang="zh-CN" altLang="en-US" b="1"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457200" y="95885"/>
            <a:ext cx="3472815" cy="497205"/>
          </a:xfrm>
        </p:spPr>
        <p:txBody>
          <a:bodyPr>
            <a:noAutofit/>
          </a:bodyPr>
          <a:p>
            <a:r>
              <a:rPr lang="zh-CN" altLang="en-US" sz="18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商业</a:t>
            </a:r>
            <a:r>
              <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伦理的构建层次</a:t>
            </a:r>
            <a:endPar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7"/>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normAutofit lnSpcReduction="10000"/>
          </a:bodyPr>
          <a:p>
            <a:r>
              <a:rPr lang="zh-CN" altLang="en-US" b="1" dirty="0">
                <a:solidFill>
                  <a:srgbClr val="0067B0"/>
                </a:solidFill>
                <a:latin typeface="Arial" panose="020B0604020202020204" pitchFamily="34" charset="0"/>
                <a:ea typeface="微软雅黑" panose="020B0503020204020204" pitchFamily="34" charset="-122"/>
                <a:sym typeface="Arial" panose="020B0604020202020204" pitchFamily="34" charset="0"/>
              </a:rPr>
              <a:t>（三）企业组织的伦理共识</a:t>
            </a:r>
            <a:endParaRPr lang="zh-CN" altLang="en-US" b="1"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a:p>
            <a:pPr marL="342900" indent="-342900">
              <a:buAutoNum type="arabicPeriod"/>
            </a:pP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制定</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并执行企业伦理</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守则</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342900" indent="-342900">
              <a:buFontTx/>
              <a:buAutoNum type="arabicPeriod"/>
            </a:pPr>
            <a:r>
              <a:rPr lang="zh-CN"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设定伦理</a:t>
            </a:r>
            <a:r>
              <a:rPr lang="zh-CN"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目标</a:t>
            </a:r>
            <a:endPar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342900" indent="-342900">
              <a:buFontTx/>
              <a:buAutoNum type="arabicPeriod"/>
            </a:pPr>
            <a:r>
              <a:rPr lang="zh-CN"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加强员工的企业伦理教育</a:t>
            </a:r>
            <a:endParaRPr lang="zh-CN" altLang="en-US"/>
          </a:p>
        </p:txBody>
      </p:sp>
      <p:graphicFrame>
        <p:nvGraphicFramePr>
          <p:cNvPr id="5" name="对象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2" imgW="5715" imgH="5715" progId="">
                  <p:embed/>
                </p:oleObj>
              </mc:Choice>
              <mc:Fallback>
                <p:oleObj name="think-cell Slide" r:id="rId2" imgW="5715" imgH="5715" progId="">
                  <p:embed/>
                  <p:pic>
                    <p:nvPicPr>
                      <p:cNvPr id="0" name="图片 8192"/>
                      <p:cNvPicPr>
                        <a:picLocks noChangeAspect="1"/>
                      </p:cNvPicPr>
                      <p:nvPr/>
                    </p:nvPicPr>
                    <p:blipFill>
                      <a:blip r:embed="rId3"/>
                      <a:stretch>
                        <a:fillRect/>
                      </a:stretch>
                    </p:blipFill>
                    <p:spPr>
                      <a:xfrm>
                        <a:off x="1588" y="1588"/>
                        <a:ext cx="1587" cy="1587"/>
                      </a:xfrm>
                      <a:prstGeom prst="rect">
                        <a:avLst/>
                      </a:prstGeom>
                      <a:noFill/>
                      <a:ln w="9525">
                        <a:noFill/>
                      </a:ln>
                    </p:spPr>
                  </p:pic>
                </p:oleObj>
              </mc:Fallback>
            </mc:AlternateContent>
          </a:graphicData>
        </a:graphic>
      </p:graphicFrame>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2490" y="140335"/>
            <a:ext cx="2513965" cy="364490"/>
          </a:xfrm>
          <a:prstGeom prst="homePlate">
            <a:avLst>
              <a:gd name="adj" fmla="val 34324"/>
            </a:avLst>
          </a:prstGeom>
        </p:spPr>
      </p:pic>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799465" y="205740"/>
            <a:ext cx="2668905" cy="238760"/>
          </a:xfrm>
        </p:spPr>
        <p:txBody>
          <a:bodyPr>
            <a:noAutofit/>
          </a:bodyPr>
          <a:p>
            <a:r>
              <a:rPr lang="zh-CN" altLang="en-US" sz="18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商业</a:t>
            </a:r>
            <a:r>
              <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伦理的构建层次</a:t>
            </a:r>
            <a:endPar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7"/>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2419350" y="235005"/>
            <a:ext cx="4543425" cy="4365569"/>
          </a:xfrm>
          <a:prstGeom prst="ellipse">
            <a:avLst/>
          </a:prstGeom>
        </p:spPr>
      </p:pic>
      <p:sp>
        <p:nvSpPr>
          <p:cNvPr id="6" name="TextBox 6"/>
          <p:cNvSpPr txBox="1">
            <a:spLocks noChangeArrowheads="1"/>
          </p:cNvSpPr>
          <p:nvPr/>
        </p:nvSpPr>
        <p:spPr bwMode="auto">
          <a:xfrm>
            <a:off x="3035300" y="2636429"/>
            <a:ext cx="3302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vl2pPr/>
            <a:lvl3pPr/>
            <a:lvl4pPr/>
            <a:lvl5pPr/>
            <a:lvl6pPr/>
            <a:lvl7pPr/>
            <a:lvl8pPr/>
            <a:lvl9pPr/>
          </a:lstStyle>
          <a:p>
            <a:pPr algn="ctr"/>
            <a:r>
              <a:rPr lang="zh-CN" altLang="en-US" sz="2400" b="1" dirty="0">
                <a:solidFill>
                  <a:srgbClr val="0067B0"/>
                </a:solidFill>
                <a:latin typeface="Arial" panose="020B0604020202020204" pitchFamily="34" charset="0"/>
                <a:ea typeface="微软雅黑" panose="020B0503020204020204" pitchFamily="34" charset="-122"/>
                <a:sym typeface="Arial" panose="020B0604020202020204" pitchFamily="34" charset="0"/>
              </a:rPr>
              <a:t>企业社会责任</a:t>
            </a:r>
            <a:endParaRPr lang="zh-CN" altLang="en-US" sz="2400" b="1"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TextBox 6"/>
          <p:cNvSpPr txBox="1">
            <a:spLocks noChangeArrowheads="1"/>
          </p:cNvSpPr>
          <p:nvPr/>
        </p:nvSpPr>
        <p:spPr bwMode="auto">
          <a:xfrm>
            <a:off x="4083239" y="1456711"/>
            <a:ext cx="966281"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vl2pPr/>
            <a:lvl3pPr/>
            <a:lvl4pPr/>
            <a:lvl5pPr/>
            <a:lvl6pPr/>
            <a:lvl7pPr/>
            <a:lvl8pPr/>
            <a:lvl9pPr/>
          </a:lstStyle>
          <a:p>
            <a:pPr algn="ctr"/>
            <a:r>
              <a:rPr lang="en-US" altLang="zh-CN" sz="72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3</a:t>
            </a:r>
            <a:endParaRPr lang="zh-CN" sz="72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630555" y="706120"/>
            <a:ext cx="8231505" cy="4230370"/>
          </a:xfrm>
        </p:spPr>
        <p:txBody>
          <a:bodyPr>
            <a:normAutofit fontScale="50000"/>
          </a:bodyPr>
          <a:p>
            <a:r>
              <a:rPr lang="zh-CN" altLang="en-US" b="1"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两个根本性问题</a:t>
            </a:r>
            <a:endParaRPr lang="zh-CN" altLang="en-US" b="1"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a:p>
            <a:pPr marL="0" indent="0">
              <a:lnSpc>
                <a:spcPct val="120000"/>
              </a:lnSpc>
              <a:buNone/>
            </a:pPr>
            <a:r>
              <a:rPr lang="en-US" altLang="zh-CN" b="1"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b="1"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企业</a:t>
            </a:r>
            <a:r>
              <a:rPr lang="zh-CN" altLang="en-US"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向谁</a:t>
            </a:r>
            <a:r>
              <a:rPr lang="zh-CN" altLang="en-US" b="1"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负责</a:t>
            </a:r>
            <a:endParaRPr lang="en-US" altLang="zh-CN" b="1"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a:lnSpc>
                <a:spcPct val="120000"/>
              </a:lnSpc>
              <a:buFont typeface="Wingdings" panose="05000000000000000000" pitchFamily="2" charset="2"/>
              <a:buChar char="l"/>
            </a:pP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利益相关者理论将企业社会责任与特定的利益相关者关联，使得企业社会责任的对象更加</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清晰</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0">
              <a:lnSpc>
                <a:spcPct val="120000"/>
              </a:lnSpc>
              <a:buNone/>
            </a:pPr>
            <a:r>
              <a:rPr lang="en-US" altLang="zh-CN" b="1"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2.</a:t>
            </a:r>
            <a:r>
              <a:rPr lang="zh-CN" altLang="en-US" b="1"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企业</a:t>
            </a:r>
            <a:r>
              <a:rPr lang="zh-CN" altLang="en-US"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应该负什么</a:t>
            </a:r>
            <a:r>
              <a:rPr lang="zh-CN" altLang="en-US" b="1"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责</a:t>
            </a:r>
            <a:endParaRPr lang="en-US" altLang="zh-CN" b="1"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a:lnSpc>
                <a:spcPct val="120000"/>
              </a:lnSpc>
              <a:buFont typeface="Wingdings" panose="05000000000000000000" pitchFamily="2" charset="2"/>
              <a:buChar char="l"/>
            </a:pPr>
            <a:r>
              <a:rPr lang="zh-CN" altLang="en-US"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mn-ea"/>
              </a:rPr>
              <a:t>经济学从广义和狭义两个角度给出了答案。从狭义角度看，社会责任与私有责任相对应，是指企业为私人（企业）提供公共产品（实施正外部性或消除其他企业的负外部性）或降低公共危害（降低负外部性），仅指道德责任和自发性责任，其隐含前提是企业的经济责任和法律责任已经履行；从广义角度看，社会责任包含了私有</a:t>
            </a:r>
            <a:r>
              <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mn-ea"/>
              </a:rPr>
              <a:t>责任</a:t>
            </a:r>
            <a:endParaRPr lang="en-US" altLang="zh-CN"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endParaRPr>
          </a:p>
          <a:p>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企业社会责任（</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Corporate social responsibility</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简称</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CSR</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是指企业在运行过程中，在履行企业基本经济职能并满足社会对其“合规性”要求的基础上，对社会整体福利水平的提高所履行的</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责任，目的</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是实现企业、经济、社会与环境的协调与</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可持续发展</a:t>
            </a:r>
            <a:endParaRPr lang="zh-CN" altLang="en-US"/>
          </a:p>
        </p:txBody>
      </p:sp>
      <p:graphicFrame>
        <p:nvGraphicFramePr>
          <p:cNvPr id="5" name="对象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2" imgW="5715" imgH="5715" progId="">
                  <p:embed/>
                </p:oleObj>
              </mc:Choice>
              <mc:Fallback>
                <p:oleObj name="think-cell Slide" r:id="rId2" imgW="5715" imgH="5715" progId="">
                  <p:embed/>
                  <p:pic>
                    <p:nvPicPr>
                      <p:cNvPr id="0" name="图片 9216"/>
                      <p:cNvPicPr>
                        <a:picLocks noChangeAspect="1"/>
                      </p:cNvPicPr>
                      <p:nvPr/>
                    </p:nvPicPr>
                    <p:blipFill>
                      <a:blip r:embed="rId3"/>
                      <a:stretch>
                        <a:fillRect/>
                      </a:stretch>
                    </p:blipFill>
                    <p:spPr>
                      <a:xfrm>
                        <a:off x="1588" y="1588"/>
                        <a:ext cx="1587" cy="1587"/>
                      </a:xfrm>
                      <a:prstGeom prst="rect">
                        <a:avLst/>
                      </a:prstGeom>
                      <a:noFill/>
                      <a:ln w="9525">
                        <a:noFill/>
                      </a:ln>
                    </p:spPr>
                  </p:pic>
                </p:oleObj>
              </mc:Fallback>
            </mc:AlternateContent>
          </a:graphicData>
        </a:graphic>
      </p:graphicFrame>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2490" y="140335"/>
            <a:ext cx="3234055" cy="364490"/>
          </a:xfrm>
          <a:prstGeom prst="homePlate">
            <a:avLst>
              <a:gd name="adj" fmla="val 34324"/>
            </a:avLst>
          </a:prstGeom>
        </p:spPr>
      </p:pic>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796925" y="95250"/>
            <a:ext cx="3235960" cy="506095"/>
          </a:xfrm>
        </p:spPr>
        <p:txBody>
          <a:bodyPr>
            <a:noAutofit/>
          </a:bodyPr>
          <a:p>
            <a:r>
              <a:rPr lang="zh-CN" altLang="en-US" sz="18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企业社会责任及相关概念</a:t>
            </a:r>
            <a:endParaRPr lang="zh-CN" altLang="en-US" sz="1800" b="1" spc="3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7"/>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466725" y="889635"/>
            <a:ext cx="8220075" cy="3705225"/>
          </a:xfrm>
        </p:spPr>
        <p:txBody>
          <a:bodyPr>
            <a:normAutofit fontScale="50000"/>
          </a:bodyPr>
          <a:p>
            <a:r>
              <a:rPr lang="zh-CN" altLang="en-US"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企业社会责任与商业伦理的区别</a:t>
            </a:r>
            <a:endParaRPr lang="zh-CN" altLang="en-US"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a:p>
            <a:pPr marL="0" indent="0">
              <a:lnSpc>
                <a:spcPct val="120000"/>
              </a:lnSpc>
              <a:buNone/>
            </a:pPr>
            <a:r>
              <a:rPr lang="en-US" altLang="zh-CN" b="1"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1.</a:t>
            </a:r>
            <a:r>
              <a:rPr lang="zh-CN" altLang="en-US"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概念</a:t>
            </a:r>
            <a:r>
              <a:rPr lang="zh-CN" altLang="en-US" b="1"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不同</a:t>
            </a:r>
            <a:endParaRPr lang="en-US" altLang="zh-CN" b="1"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a:lnSpc>
                <a:spcPct val="120000"/>
              </a:lnSpc>
            </a:pP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企业社会责任反映了企业对股东、员工、供应商、消费者以及公众等利益相关者的行为和态度。履行了社会责任，就表明该企业对于社会是负责的，在经济上是可持续发展的。商业伦理常常被定义为支配一个组织及其成员的一系列道德原则或价值观，通过内部制定的策略和实施与道德相关的项目来</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体现</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0">
              <a:lnSpc>
                <a:spcPct val="120000"/>
              </a:lnSpc>
              <a:buNone/>
            </a:pPr>
            <a:r>
              <a:rPr lang="en-US" altLang="zh-CN" b="1"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2.</a:t>
            </a:r>
            <a:r>
              <a:rPr lang="zh-CN" altLang="en-US" b="1"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外界感知的难易程度不同</a:t>
            </a:r>
            <a:endParaRPr lang="en-US" altLang="zh-CN" b="1"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a:lnSpc>
                <a:spcPct val="120000"/>
              </a:lnSpc>
            </a:pP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企业社会责任可以被外界很容易地观察到并对此做出判断，商业伦理是反映了企业内在理念和价值观，外界难以直接</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感知</a:t>
            </a:r>
            <a:endParaRPr lang="zh-CN" altLang="en-US"/>
          </a:p>
        </p:txBody>
      </p:sp>
      <p:graphicFrame>
        <p:nvGraphicFramePr>
          <p:cNvPr id="5" name="对象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2" imgW="5715" imgH="5715" progId="">
                  <p:embed/>
                </p:oleObj>
              </mc:Choice>
              <mc:Fallback>
                <p:oleObj name="think-cell Slide" r:id="rId2" imgW="5715" imgH="5715" progId="">
                  <p:embed/>
                  <p:pic>
                    <p:nvPicPr>
                      <p:cNvPr id="0" name="图片 10240"/>
                      <p:cNvPicPr>
                        <a:picLocks noChangeAspect="1"/>
                      </p:cNvPicPr>
                      <p:nvPr/>
                    </p:nvPicPr>
                    <p:blipFill>
                      <a:blip r:embed="rId3"/>
                      <a:stretch>
                        <a:fillRect/>
                      </a:stretch>
                    </p:blipFill>
                    <p:spPr>
                      <a:xfrm>
                        <a:off x="1588" y="1588"/>
                        <a:ext cx="1587" cy="1587"/>
                      </a:xfrm>
                      <a:prstGeom prst="rect">
                        <a:avLst/>
                      </a:prstGeom>
                      <a:noFill/>
                      <a:ln w="9525">
                        <a:noFill/>
                      </a:ln>
                    </p:spPr>
                  </p:pic>
                </p:oleObj>
              </mc:Fallback>
            </mc:AlternateContent>
          </a:graphicData>
        </a:graphic>
      </p:graphicFrame>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0905" y="144145"/>
            <a:ext cx="2617470" cy="485775"/>
          </a:xfrm>
          <a:prstGeom prst="homePlate">
            <a:avLst>
              <a:gd name="adj" fmla="val 34324"/>
            </a:avLst>
          </a:prstGeom>
        </p:spPr>
      </p:pic>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730250" y="233680"/>
            <a:ext cx="2777490" cy="413385"/>
          </a:xfrm>
        </p:spPr>
        <p:txBody>
          <a:bodyPr>
            <a:normAutofit fontScale="90000"/>
          </a:bodyPr>
          <a:p>
            <a:r>
              <a:rPr lang="zh-CN" altLang="en-US" sz="20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社会责任与商业伦理</a:t>
            </a:r>
            <a:endParaRPr lang="zh-CN" altLang="en-US" sz="20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7"/>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图片 3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72490" y="140335"/>
            <a:ext cx="2550795" cy="364490"/>
          </a:xfrm>
          <a:prstGeom prst="homePlate">
            <a:avLst>
              <a:gd name="adj" fmla="val 34324"/>
            </a:avLst>
          </a:prstGeom>
        </p:spPr>
      </p:pic>
      <p:sp>
        <p:nvSpPr>
          <p:cNvPr id="2" name="标题 1"/>
          <p:cNvSpPr>
            <a:spLocks noGrp="1"/>
          </p:cNvSpPr>
          <p:nvPr>
            <p:ph type="title"/>
          </p:nvPr>
        </p:nvSpPr>
        <p:spPr>
          <a:xfrm>
            <a:off x="508000" y="140335"/>
            <a:ext cx="3280410" cy="340360"/>
          </a:xfrm>
        </p:spPr>
        <p:txBody>
          <a:bodyPr>
            <a:noAutofit/>
          </a:bodyPr>
          <a:p>
            <a:r>
              <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社会责任与商业伦理</a:t>
            </a:r>
            <a:endPar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3" name="内容占位符 2"/>
          <p:cNvSpPr>
            <a:spLocks noGrp="1"/>
          </p:cNvSpPr>
          <p:nvPr>
            <p:ph idx="1"/>
          </p:nvPr>
        </p:nvSpPr>
        <p:spPr>
          <a:xfrm>
            <a:off x="421005" y="932815"/>
            <a:ext cx="8265795" cy="3662045"/>
          </a:xfrm>
        </p:spPr>
        <p:txBody>
          <a:bodyPr>
            <a:normAutofit fontScale="60000"/>
          </a:bodyPr>
          <a:p>
            <a:r>
              <a:rPr lang="zh-CN" altLang="en-US" b="1"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mn-ea"/>
              </a:rPr>
              <a:t>社会责任是商业伦理的</a:t>
            </a:r>
            <a:r>
              <a:rPr lang="zh-CN" altLang="en-US" b="1"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mn-ea"/>
              </a:rPr>
              <a:t>基础</a:t>
            </a:r>
            <a:endParaRPr lang="en-US" altLang="zh-CN" b="1"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endParaRPr>
          </a:p>
          <a:p>
            <a:pPr>
              <a:lnSpc>
                <a:spcPct val="120000"/>
              </a:lnSpc>
              <a:buFont typeface="Wingdings" panose="05000000000000000000" pitchFamily="2" charset="2"/>
              <a:buChar char="l"/>
            </a:pP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方正兰亭细黑_GBK_M" pitchFamily="2" charset="2"/>
                <a:sym typeface="+mn-ea"/>
              </a:rPr>
              <a:t>工商业社会急剧发展下产生了人与社会的问题，企业经理人必须在处理企业事务过程中也同时解决人与社会的问题，至少必须改善这些问题。这个基本观点的提出使商业伦理为何必须存在有了基本的理由，也间接回答了“为什么企业要追求商业伦理”的</a:t>
            </a:r>
            <a:r>
              <a:rPr lang="zh-CN" altLang="en-US" dirty="0" smtClean="0">
                <a:solidFill>
                  <a:schemeClr val="tx1">
                    <a:lumMod val="75000"/>
                    <a:lumOff val="25000"/>
                  </a:schemeClr>
                </a:solidFill>
                <a:latin typeface="微软雅黑" panose="020B0503020204020204" pitchFamily="34" charset="-122"/>
                <a:ea typeface="微软雅黑" panose="020B0503020204020204" pitchFamily="34" charset="-122"/>
                <a:cs typeface="方正兰亭细黑_GBK_M" pitchFamily="2" charset="2"/>
                <a:sym typeface="+mn-ea"/>
              </a:rPr>
              <a:t>原因</a:t>
            </a:r>
            <a:endParaRPr lang="en-US" altLang="zh-CN"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endParaRPr>
          </a:p>
          <a:p>
            <a:pPr marL="285750" indent="-285750">
              <a:lnSpc>
                <a:spcPct val="120000"/>
              </a:lnSpc>
              <a:buFont typeface="Wingdings" panose="05000000000000000000" pitchFamily="2" charset="2"/>
              <a:buChar char="p"/>
            </a:pP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经济</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责任（</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Economic Responsibility</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20000"/>
              </a:lnSpc>
              <a:buFont typeface="Wingdings" panose="05000000000000000000" pitchFamily="2" charset="2"/>
              <a:buChar char="p"/>
            </a:pP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法律责任</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Legal Responsibility</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20000"/>
              </a:lnSpc>
              <a:buFont typeface="Wingdings" panose="05000000000000000000" pitchFamily="2" charset="2"/>
              <a:buChar char="p"/>
            </a:pP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伦理</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责任（</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Ethical Responsibility</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20000"/>
              </a:lnSpc>
              <a:buFont typeface="Wingdings" panose="05000000000000000000" pitchFamily="2" charset="2"/>
              <a:buChar char="p"/>
            </a:pP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慈善事业</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Philanthropic Responsibility</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lang="zh-CN" altLang="en-US"/>
          </a:p>
        </p:txBody>
      </p:sp>
      <p:graphicFrame>
        <p:nvGraphicFramePr>
          <p:cNvPr id="5" name="对象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3" imgW="5715" imgH="5715" progId="">
                  <p:embed/>
                </p:oleObj>
              </mc:Choice>
              <mc:Fallback>
                <p:oleObj name="think-cell Slide" r:id="rId3" imgW="5715" imgH="5715" progId="">
                  <p:embed/>
                  <p:pic>
                    <p:nvPicPr>
                      <p:cNvPr id="0" name="图片 11264"/>
                      <p:cNvPicPr>
                        <a:picLocks noChangeAspect="1"/>
                      </p:cNvPicPr>
                      <p:nvPr/>
                    </p:nvPicPr>
                    <p:blipFill>
                      <a:blip r:embed="rId4"/>
                      <a:stretch>
                        <a:fillRect/>
                      </a:stretch>
                    </p:blipFill>
                    <p:spPr>
                      <a:xfrm>
                        <a:off x="1588" y="1588"/>
                        <a:ext cx="1587" cy="1587"/>
                      </a:xfrm>
                      <a:prstGeom prst="rect">
                        <a:avLst/>
                      </a:prstGeom>
                      <a:noFill/>
                      <a:ln w="9525">
                        <a:noFill/>
                      </a:ln>
                    </p:spPr>
                  </p:pic>
                </p:oleObj>
              </mc:Fallback>
            </mc:AlternateContent>
          </a:graphicData>
        </a:graphic>
      </p:graphicFrame>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8087" y="14063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7"/>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2" imgW="5715" imgH="5715" progId="">
                  <p:embed/>
                </p:oleObj>
              </mc:Choice>
              <mc:Fallback>
                <p:oleObj name="think-cell Slide" r:id="rId2" imgW="5715" imgH="5715" progId="">
                  <p:embed/>
                  <p:pic>
                    <p:nvPicPr>
                      <p:cNvPr id="0" name="图片 12288"/>
                      <p:cNvPicPr>
                        <a:picLocks noChangeAspect="1"/>
                      </p:cNvPicPr>
                      <p:nvPr/>
                    </p:nvPicPr>
                    <p:blipFill>
                      <a:blip r:embed="rId3"/>
                      <a:stretch>
                        <a:fillRect/>
                      </a:stretch>
                    </p:blipFill>
                    <p:spPr>
                      <a:xfrm>
                        <a:off x="1588" y="1588"/>
                        <a:ext cx="1587" cy="1587"/>
                      </a:xfrm>
                      <a:prstGeom prst="rect">
                        <a:avLst/>
                      </a:prstGeom>
                      <a:noFill/>
                      <a:ln w="9525">
                        <a:noFill/>
                      </a:ln>
                    </p:spPr>
                  </p:pic>
                </p:oleObj>
              </mc:Fallback>
            </mc:AlternateContent>
          </a:graphicData>
        </a:graphic>
      </p:graphicFrame>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TextBox 27"/>
          <p:cNvSpPr txBox="1"/>
          <p:nvPr/>
        </p:nvSpPr>
        <p:spPr>
          <a:xfrm>
            <a:off x="281268" y="1287601"/>
            <a:ext cx="7884832" cy="1045210"/>
          </a:xfrm>
          <a:prstGeom prst="rect">
            <a:avLst/>
          </a:prstGeom>
          <a:noFill/>
        </p:spPr>
        <p:txBody>
          <a:bodyPr wrap="square" rtlCol="0">
            <a:spAutoFit/>
          </a:bodyPr>
          <a:lstStyle/>
          <a:p>
            <a:pPr marL="342900" indent="-342900">
              <a:spcBef>
                <a:spcPts val="1200"/>
              </a:spcBef>
              <a:buFont typeface="+mj-lt"/>
              <a:buAutoNum type="arabicPeriod"/>
            </a:pP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股东至上”</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 </a:t>
            </a:r>
            <a:r>
              <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Shareholder supremacy</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a:t>
            </a: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理论</a:t>
            </a:r>
            <a:endParaRPr lang="en-US" altLang="zh-CN"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endParaRPr>
          </a:p>
          <a:p>
            <a:pPr marL="342900" indent="-342900">
              <a:spcBef>
                <a:spcPts val="1200"/>
              </a:spcBef>
              <a:buFont typeface="+mj-lt"/>
              <a:buAutoNum type="arabicPeriod"/>
            </a:pPr>
            <a:r>
              <a:rPr lang="zh-CN" altLang="zh-CN"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委托</a:t>
            </a:r>
            <a:r>
              <a:rPr lang="zh-CN"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代理（</a:t>
            </a:r>
            <a:r>
              <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Principal -agent</a:t>
            </a:r>
            <a:r>
              <a:rPr lang="zh-CN"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理论</a:t>
            </a:r>
            <a:endPar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endParaRPr>
          </a:p>
          <a:p>
            <a:pPr marL="342900" indent="-342900">
              <a:spcBef>
                <a:spcPts val="1200"/>
              </a:spcBef>
              <a:buFont typeface="+mj-lt"/>
              <a:buAutoNum type="arabicPeriod"/>
            </a:pPr>
            <a:r>
              <a:rPr lang="zh-CN" altLang="zh-CN"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企业</a:t>
            </a:r>
            <a:r>
              <a:rPr lang="zh-CN"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社会责任与资本主义制度的关系</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p:txBody>
      </p:sp>
      <p:sp>
        <p:nvSpPr>
          <p:cNvPr id="29" name="TextBox 28"/>
          <p:cNvSpPr txBox="1"/>
          <p:nvPr/>
        </p:nvSpPr>
        <p:spPr>
          <a:xfrm>
            <a:off x="281268" y="919745"/>
            <a:ext cx="3154680" cy="368300"/>
          </a:xfrm>
          <a:prstGeom prst="rect">
            <a:avLst/>
          </a:prstGeom>
          <a:noFill/>
        </p:spPr>
        <p:txBody>
          <a:bodyPr wrap="none" rtlCol="0">
            <a:spAutoFit/>
          </a:bodyPr>
          <a:lstStyle/>
          <a:p>
            <a:r>
              <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rPr>
              <a:t>反对企业承担社会责任的理论</a:t>
            </a:r>
            <a:endPar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36" name="TextBox 35"/>
          <p:cNvSpPr txBox="1"/>
          <p:nvPr/>
        </p:nvSpPr>
        <p:spPr>
          <a:xfrm>
            <a:off x="281268" y="3119659"/>
            <a:ext cx="7884832" cy="1414780"/>
          </a:xfrm>
          <a:prstGeom prst="rect">
            <a:avLst/>
          </a:prstGeom>
          <a:noFill/>
        </p:spPr>
        <p:txBody>
          <a:bodyPr wrap="square" rtlCol="0">
            <a:spAutoFit/>
          </a:bodyPr>
          <a:lstStyle/>
          <a:p>
            <a:pPr marL="342900" indent="-342900">
              <a:spcBef>
                <a:spcPts val="1200"/>
              </a:spcBef>
              <a:buAutoNum type="arabicPeriod"/>
            </a:pP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长期</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利益</a:t>
            </a: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理论</a:t>
            </a:r>
            <a:endParaRPr lang="en-US" altLang="zh-CN"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marL="342900" indent="-342900">
              <a:spcBef>
                <a:spcPts val="1200"/>
              </a:spcBef>
              <a:buAutoNum type="arabicPeriod"/>
            </a:pPr>
            <a:r>
              <a:rPr lang="zh-CN"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利益相关者理论</a:t>
            </a:r>
            <a:endPar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endParaRPr>
          </a:p>
          <a:p>
            <a:pPr marL="342900" indent="-342900">
              <a:spcBef>
                <a:spcPts val="1200"/>
              </a:spcBef>
              <a:buAutoNum type="arabicPeriod"/>
            </a:pPr>
            <a:r>
              <a:rPr lang="zh-CN"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团队生产理论</a:t>
            </a:r>
            <a:endPar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endParaRPr>
          </a:p>
          <a:p>
            <a:pPr marL="342900" indent="-342900">
              <a:spcBef>
                <a:spcPts val="1200"/>
              </a:spcBef>
              <a:buAutoNum type="arabicPeriod"/>
            </a:pPr>
            <a:r>
              <a:rPr lang="zh-CN"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战略管理理论</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p:txBody>
      </p:sp>
      <p:sp>
        <p:nvSpPr>
          <p:cNvPr id="37" name="TextBox 36"/>
          <p:cNvSpPr txBox="1"/>
          <p:nvPr/>
        </p:nvSpPr>
        <p:spPr>
          <a:xfrm>
            <a:off x="281268" y="2713457"/>
            <a:ext cx="3154680" cy="368300"/>
          </a:xfrm>
          <a:prstGeom prst="rect">
            <a:avLst/>
          </a:prstGeom>
          <a:noFill/>
        </p:spPr>
        <p:txBody>
          <a:bodyPr wrap="none" rtlCol="0">
            <a:spAutoFit/>
          </a:bodyPr>
          <a:lstStyle/>
          <a:p>
            <a:r>
              <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rPr>
              <a:t>支持企业承担社会责任的理论</a:t>
            </a:r>
            <a:endPar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457200" y="205740"/>
            <a:ext cx="2523490" cy="294640"/>
          </a:xfrm>
        </p:spPr>
        <p:txBody>
          <a:bodyPr>
            <a:noAutofit/>
          </a:bodyPr>
          <a:p>
            <a:r>
              <a:rPr lang="zh-CN" altLang="en-US" sz="28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理论分歧</a:t>
            </a:r>
            <a:endParaRPr lang="zh-CN" altLang="en-US" sz="2800" b="1" spc="3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7"/>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2" imgW="5715" imgH="5715" progId="">
                  <p:embed/>
                </p:oleObj>
              </mc:Choice>
              <mc:Fallback>
                <p:oleObj name="think-cell Slide" r:id="rId2" imgW="5715" imgH="5715" progId="">
                  <p:embed/>
                  <p:pic>
                    <p:nvPicPr>
                      <p:cNvPr id="0" name="图片 13312"/>
                      <p:cNvPicPr>
                        <a:picLocks noChangeAspect="1"/>
                      </p:cNvPicPr>
                      <p:nvPr/>
                    </p:nvPicPr>
                    <p:blipFill>
                      <a:blip r:embed="rId3"/>
                      <a:stretch>
                        <a:fillRect/>
                      </a:stretch>
                    </p:blipFill>
                    <p:spPr>
                      <a:xfrm>
                        <a:off x="1588" y="1588"/>
                        <a:ext cx="1587" cy="1587"/>
                      </a:xfrm>
                      <a:prstGeom prst="rect">
                        <a:avLst/>
                      </a:prstGeom>
                      <a:noFill/>
                      <a:ln w="9525">
                        <a:noFill/>
                      </a:ln>
                    </p:spPr>
                  </p:pic>
                </p:oleObj>
              </mc:Fallback>
            </mc:AlternateContent>
          </a:graphicData>
        </a:graphic>
      </p:graphicFrame>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2490" y="140335"/>
            <a:ext cx="2727325" cy="364490"/>
          </a:xfrm>
          <a:prstGeom prst="homePlate">
            <a:avLst>
              <a:gd name="adj" fmla="val 34324"/>
            </a:avLst>
          </a:prstGeom>
        </p:spPr>
      </p:pic>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TextBox 27"/>
          <p:cNvSpPr txBox="1"/>
          <p:nvPr/>
        </p:nvSpPr>
        <p:spPr>
          <a:xfrm>
            <a:off x="281268" y="1812631"/>
            <a:ext cx="7884832" cy="2835275"/>
          </a:xfrm>
          <a:prstGeom prst="rect">
            <a:avLst/>
          </a:prstGeom>
          <a:noFill/>
        </p:spPr>
        <p:txBody>
          <a:bodyPr wrap="square" rtlCol="0">
            <a:spAutoFit/>
          </a:bodyPr>
          <a:lstStyle/>
          <a:p>
            <a:pPr>
              <a:lnSpc>
                <a:spcPct val="120000"/>
              </a:lnSpc>
              <a:spcBef>
                <a:spcPts val="1200"/>
              </a:spcBef>
            </a:pPr>
            <a:r>
              <a:rPr lang="zh-CN" altLang="en-US" sz="1400" b="1"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战略性企业社会责任是指能为企业带来利润的涉及企业社会责任的政策、项目或过程，它能支持企业的核心业务，从而有效地实现企业的</a:t>
            </a:r>
            <a:r>
              <a:rPr lang="zh-CN" altLang="en-US" sz="1400" b="1"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使命</a:t>
            </a:r>
            <a:endParaRPr lang="en-US" altLang="zh-CN" sz="1400" b="1"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endParaRPr>
          </a:p>
          <a:p>
            <a:pPr>
              <a:lnSpc>
                <a:spcPct val="120000"/>
              </a:lnSpc>
              <a:spcBef>
                <a:spcPts val="1200"/>
              </a:spcBef>
            </a:pPr>
            <a:endParaRPr lang="en-US" altLang="zh-CN" sz="1400" b="1"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endParaRPr>
          </a:p>
          <a:p>
            <a:pPr>
              <a:lnSpc>
                <a:spcPct val="120000"/>
              </a:lnSpc>
              <a:spcBef>
                <a:spcPts val="1200"/>
              </a:spcBef>
              <a:buFont typeface="Wingdings" panose="05000000000000000000" pitchFamily="2" charset="2"/>
              <a:buChar char="l"/>
            </a:pP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战略性</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企业社会责任的基本思想是企业和社会相互依存，以损害其中一方的单方暂时得利，将有损双方的长期繁荣。战略性企业社会责任打破了传统企业社会责任对企业经济目标和社会目标此消彼长的假设，通过创造共享价值，试图破解“企业如何做到赚钱与为善两不误（</a:t>
            </a:r>
            <a:r>
              <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Doing Well and Doing Good</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的经典难题 ，为企业实现“善其身”与“济天下”的二元目标指明了方向，也为理论界关于企业是否应该承担社会责任的长期争论按下了</a:t>
            </a: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rPr>
              <a:t>暂停键</a:t>
            </a:r>
            <a:endParaRPr lang="en-US" altLang="zh-CN"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endParaRPr>
          </a:p>
          <a:p>
            <a:pPr>
              <a:spcBef>
                <a:spcPts val="1200"/>
              </a:spcBef>
            </a:pPr>
            <a:endPar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p:txBody>
      </p:sp>
      <p:sp>
        <p:nvSpPr>
          <p:cNvPr id="29" name="TextBox 28"/>
          <p:cNvSpPr txBox="1"/>
          <p:nvPr/>
        </p:nvSpPr>
        <p:spPr>
          <a:xfrm>
            <a:off x="565748" y="1056640"/>
            <a:ext cx="2736252" cy="398780"/>
          </a:xfrm>
          <a:prstGeom prst="rect">
            <a:avLst/>
          </a:prstGeom>
          <a:noFill/>
        </p:spPr>
        <p:txBody>
          <a:bodyPr wrap="square" rtlCol="0">
            <a:spAutoFit/>
          </a:bodyPr>
          <a:lstStyle/>
          <a:p>
            <a:r>
              <a:rPr lang="zh-CN" altLang="en-US" sz="2000" dirty="0">
                <a:solidFill>
                  <a:srgbClr val="0067B0"/>
                </a:solidFill>
                <a:latin typeface="Arial" panose="020B0604020202020204" pitchFamily="34" charset="0"/>
                <a:ea typeface="微软雅黑" panose="020B0503020204020204" pitchFamily="34" charset="-122"/>
                <a:sym typeface="Arial" panose="020B0604020202020204" pitchFamily="34" charset="0"/>
              </a:rPr>
              <a:t>战略性社会责任的概念</a:t>
            </a:r>
            <a:endParaRPr lang="zh-CN" altLang="en-US" sz="20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730250" y="104775"/>
            <a:ext cx="2869565" cy="432435"/>
          </a:xfrm>
        </p:spPr>
        <p:txBody>
          <a:bodyPr>
            <a:noAutofit/>
          </a:bodyPr>
          <a:p>
            <a:r>
              <a:rPr lang="zh-CN" altLang="en-US" sz="16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企业的战略性社会责任</a:t>
            </a:r>
            <a:endParaRPr lang="zh-CN" altLang="en-US" sz="1600" b="1" spc="3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7"/>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p>
            <a:endParaRPr lang="zh-CN" altLang="en-US"/>
          </a:p>
        </p:txBody>
      </p:sp>
      <p:graphicFrame>
        <p:nvGraphicFramePr>
          <p:cNvPr id="5" name="对象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2" imgW="5715" imgH="5715" progId="">
                  <p:embed/>
                </p:oleObj>
              </mc:Choice>
              <mc:Fallback>
                <p:oleObj name="think-cell Slide" r:id="rId2" imgW="5715" imgH="5715" progId="">
                  <p:embed/>
                  <p:pic>
                    <p:nvPicPr>
                      <p:cNvPr id="0" name="图片 14336"/>
                      <p:cNvPicPr>
                        <a:picLocks noChangeAspect="1"/>
                      </p:cNvPicPr>
                      <p:nvPr/>
                    </p:nvPicPr>
                    <p:blipFill>
                      <a:blip r:embed="rId3"/>
                      <a:stretch>
                        <a:fillRect/>
                      </a:stretch>
                    </p:blipFill>
                    <p:spPr>
                      <a:xfrm>
                        <a:off x="1588" y="1588"/>
                        <a:ext cx="1587" cy="1587"/>
                      </a:xfrm>
                      <a:prstGeom prst="rect">
                        <a:avLst/>
                      </a:prstGeom>
                      <a:noFill/>
                      <a:ln w="9525">
                        <a:noFill/>
                      </a:ln>
                    </p:spPr>
                  </p:pic>
                </p:oleObj>
              </mc:Fallback>
            </mc:AlternateContent>
          </a:graphicData>
        </a:graphic>
      </p:graphicFrame>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2490" y="140335"/>
            <a:ext cx="2708910" cy="364490"/>
          </a:xfrm>
          <a:prstGeom prst="homePlate">
            <a:avLst>
              <a:gd name="adj" fmla="val 34324"/>
            </a:avLst>
          </a:prstGeom>
        </p:spPr>
      </p:pic>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4" name="圆角矩形 13"/>
          <p:cNvSpPr/>
          <p:nvPr/>
        </p:nvSpPr>
        <p:spPr>
          <a:xfrm>
            <a:off x="1179820" y="1217804"/>
            <a:ext cx="3397260" cy="1643090"/>
          </a:xfrm>
          <a:prstGeom prst="roundRect">
            <a:avLst>
              <a:gd name="adj" fmla="val 12535"/>
            </a:avLst>
          </a:prstGeom>
          <a:gradFill>
            <a:gsLst>
              <a:gs pos="92000">
                <a:srgbClr val="FAFCFB"/>
              </a:gs>
              <a:gs pos="15000">
                <a:srgbClr val="CDCED0"/>
              </a:gs>
            </a:gsLst>
            <a:lin ang="2700000" scaled="1"/>
          </a:gradFill>
          <a:ln w="22225">
            <a:gradFill>
              <a:gsLst>
                <a:gs pos="36000">
                  <a:srgbClr val="FCFCFC"/>
                </a:gs>
                <a:gs pos="71000">
                  <a:srgbClr val="FAFCFB"/>
                </a:gs>
              </a:gsLst>
              <a:lin ang="3000000" scaled="0"/>
            </a:gra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15" name="图片 14"/>
          <p:cNvPicPr>
            <a:picLocks noChangeAspect="1"/>
          </p:cNvPicPr>
          <p:nvPr/>
        </p:nvPicPr>
        <p:blipFill rotWithShape="1">
          <a:blip r:embed="rId7" cstate="print">
            <a:extLst>
              <a:ext uri="{28A0092B-C50C-407E-A947-70E740481C1C}">
                <a14:useLocalDpi xmlns:a14="http://schemas.microsoft.com/office/drawing/2010/main" val="0"/>
              </a:ext>
            </a:extLst>
          </a:blip>
          <a:srcRect l="29018" t="45777" r="45184" b="1"/>
          <a:stretch>
            <a:fillRect/>
          </a:stretch>
        </p:blipFill>
        <p:spPr>
          <a:xfrm>
            <a:off x="1331335" y="1330277"/>
            <a:ext cx="1295025" cy="1492755"/>
          </a:xfrm>
          <a:prstGeom prst="rect">
            <a:avLst/>
          </a:prstGeom>
          <a:solidFill>
            <a:srgbClr val="FFFFFF">
              <a:shade val="85000"/>
            </a:srgbClr>
          </a:solidFill>
          <a:ln w="381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16" name="组合 15"/>
          <p:cNvGrpSpPr/>
          <p:nvPr/>
        </p:nvGrpSpPr>
        <p:grpSpPr>
          <a:xfrm>
            <a:off x="2354897" y="1773505"/>
            <a:ext cx="561653" cy="589655"/>
            <a:chOff x="2395537" y="1905585"/>
            <a:chExt cx="561653" cy="589655"/>
          </a:xfrm>
        </p:grpSpPr>
        <p:grpSp>
          <p:nvGrpSpPr>
            <p:cNvPr id="17" name="组合 16"/>
            <p:cNvGrpSpPr/>
            <p:nvPr/>
          </p:nvGrpSpPr>
          <p:grpSpPr>
            <a:xfrm>
              <a:off x="2395537" y="1920118"/>
              <a:ext cx="561653" cy="575122"/>
              <a:chOff x="304800" y="673100"/>
              <a:chExt cx="4000500" cy="4000500"/>
            </a:xfrm>
            <a:effectLst>
              <a:outerShdw blurRad="444500" dist="254000" dir="8100000" algn="tr" rotWithShape="0">
                <a:prstClr val="black">
                  <a:alpha val="50000"/>
                </a:prstClr>
              </a:outerShdw>
            </a:effectLst>
          </p:grpSpPr>
          <p:sp>
            <p:nvSpPr>
              <p:cNvPr id="19" name="同心圆 18"/>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20" name="椭圆 19"/>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18" name="TextBox 17"/>
            <p:cNvSpPr txBox="1"/>
            <p:nvPr/>
          </p:nvSpPr>
          <p:spPr>
            <a:xfrm>
              <a:off x="2466555" y="1905585"/>
              <a:ext cx="412292" cy="584775"/>
            </a:xfrm>
            <a:prstGeom prst="rect">
              <a:avLst/>
            </a:prstGeom>
            <a:noFill/>
          </p:spPr>
          <p:txBody>
            <a:bodyPr wrap="none" rtlCol="0">
              <a:spAutoFit/>
            </a:bodyPr>
            <a:lstStyle/>
            <a:p>
              <a:r>
                <a:rPr lang="en-US" altLang="zh-CN" sz="3200"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1</a:t>
              </a:r>
              <a:endParaRPr lang="zh-CN" altLang="en-US" sz="32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21" name="TextBox 20"/>
          <p:cNvSpPr txBox="1"/>
          <p:nvPr/>
        </p:nvSpPr>
        <p:spPr>
          <a:xfrm>
            <a:off x="3135477" y="1412200"/>
            <a:ext cx="906780" cy="337185"/>
          </a:xfrm>
          <a:prstGeom prst="rect">
            <a:avLst/>
          </a:prstGeom>
          <a:noFill/>
        </p:spPr>
        <p:txBody>
          <a:bodyPr wrap="none" rtlCol="0">
            <a:spAutoFit/>
          </a:bodyPr>
          <a:lstStyle/>
          <a:p>
            <a:r>
              <a:rPr lang="zh-CN" altLang="en-US" sz="16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向心性</a:t>
            </a:r>
            <a:endParaRPr lang="zh-CN" altLang="en-US" sz="1600" b="1" spc="3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22" name="矩形 21"/>
          <p:cNvSpPr/>
          <p:nvPr/>
        </p:nvSpPr>
        <p:spPr>
          <a:xfrm>
            <a:off x="2922209" y="1867762"/>
            <a:ext cx="1342171" cy="575945"/>
          </a:xfrm>
          <a:prstGeom prst="rect">
            <a:avLst/>
          </a:prstGeom>
        </p:spPr>
        <p:txBody>
          <a:bodyPr wrap="square">
            <a:spAutoFit/>
          </a:bodyPr>
          <a:lstStyle/>
          <a:p>
            <a:pPr algn="ctr"/>
            <a:r>
              <a:rPr lang="zh-CN" altLang="en-US" sz="105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对企业社会责任政策或项目与企业使命匹配程度的度量</a:t>
            </a:r>
            <a:endParaRPr lang="zh-CN" altLang="en-US" sz="105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圆角矩形 29"/>
          <p:cNvSpPr/>
          <p:nvPr/>
        </p:nvSpPr>
        <p:spPr>
          <a:xfrm>
            <a:off x="4890760" y="1217804"/>
            <a:ext cx="3397260" cy="1643090"/>
          </a:xfrm>
          <a:prstGeom prst="roundRect">
            <a:avLst>
              <a:gd name="adj" fmla="val 12535"/>
            </a:avLst>
          </a:prstGeom>
          <a:gradFill>
            <a:gsLst>
              <a:gs pos="92000">
                <a:srgbClr val="FAFCFB"/>
              </a:gs>
              <a:gs pos="15000">
                <a:srgbClr val="CDCED0"/>
              </a:gs>
            </a:gsLst>
            <a:lin ang="2700000" scaled="1"/>
          </a:gradFill>
          <a:ln w="22225">
            <a:gradFill>
              <a:gsLst>
                <a:gs pos="36000">
                  <a:srgbClr val="FCFCFC"/>
                </a:gs>
                <a:gs pos="71000">
                  <a:srgbClr val="FAFCFB"/>
                </a:gs>
              </a:gsLst>
              <a:lin ang="3000000" scaled="0"/>
            </a:gra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1" name="图片 30"/>
          <p:cNvPicPr>
            <a:picLocks noChangeAspect="1"/>
          </p:cNvPicPr>
          <p:nvPr/>
        </p:nvPicPr>
        <p:blipFill rotWithShape="1">
          <a:blip r:embed="rId7" cstate="print">
            <a:extLst>
              <a:ext uri="{28A0092B-C50C-407E-A947-70E740481C1C}">
                <a14:useLocalDpi xmlns:a14="http://schemas.microsoft.com/office/drawing/2010/main" val="0"/>
              </a:ext>
            </a:extLst>
          </a:blip>
          <a:srcRect l="29018" t="45777" r="45184" b="1"/>
          <a:stretch>
            <a:fillRect/>
          </a:stretch>
        </p:blipFill>
        <p:spPr>
          <a:xfrm>
            <a:off x="5042275" y="1330277"/>
            <a:ext cx="1295025" cy="1492755"/>
          </a:xfrm>
          <a:prstGeom prst="rect">
            <a:avLst/>
          </a:prstGeom>
          <a:solidFill>
            <a:srgbClr val="FFFFFF">
              <a:shade val="85000"/>
            </a:srgbClr>
          </a:solidFill>
          <a:ln w="381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36" name="组合 35"/>
          <p:cNvGrpSpPr/>
          <p:nvPr/>
        </p:nvGrpSpPr>
        <p:grpSpPr>
          <a:xfrm>
            <a:off x="6065837" y="1773505"/>
            <a:ext cx="561653" cy="589655"/>
            <a:chOff x="6106477" y="1905585"/>
            <a:chExt cx="561653" cy="589655"/>
          </a:xfrm>
        </p:grpSpPr>
        <p:grpSp>
          <p:nvGrpSpPr>
            <p:cNvPr id="37" name="组合 36"/>
            <p:cNvGrpSpPr/>
            <p:nvPr/>
          </p:nvGrpSpPr>
          <p:grpSpPr>
            <a:xfrm>
              <a:off x="6106477" y="1920118"/>
              <a:ext cx="561653" cy="575122"/>
              <a:chOff x="304800" y="673100"/>
              <a:chExt cx="4000500" cy="4000500"/>
            </a:xfrm>
            <a:effectLst>
              <a:outerShdw blurRad="444500" dist="254000" dir="8100000" algn="tr" rotWithShape="0">
                <a:prstClr val="black">
                  <a:alpha val="50000"/>
                </a:prstClr>
              </a:outerShdw>
            </a:effectLst>
          </p:grpSpPr>
          <p:sp>
            <p:nvSpPr>
              <p:cNvPr id="39" name="同心圆 38"/>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椭圆 39"/>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38" name="TextBox 37"/>
            <p:cNvSpPr txBox="1"/>
            <p:nvPr/>
          </p:nvSpPr>
          <p:spPr>
            <a:xfrm>
              <a:off x="6157175" y="1905585"/>
              <a:ext cx="412292" cy="584775"/>
            </a:xfrm>
            <a:prstGeom prst="rect">
              <a:avLst/>
            </a:prstGeom>
            <a:noFill/>
          </p:spPr>
          <p:txBody>
            <a:bodyPr wrap="none" rtlCol="0">
              <a:spAutoFit/>
            </a:bodyPr>
            <a:lstStyle/>
            <a:p>
              <a:r>
                <a:rPr lang="en-US" altLang="zh-CN" sz="3200"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2</a:t>
              </a:r>
              <a:endParaRPr lang="zh-CN" altLang="en-US" sz="32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41" name="TextBox 40"/>
          <p:cNvSpPr txBox="1"/>
          <p:nvPr/>
        </p:nvSpPr>
        <p:spPr>
          <a:xfrm>
            <a:off x="6875913" y="1412200"/>
            <a:ext cx="906780" cy="337185"/>
          </a:xfrm>
          <a:prstGeom prst="rect">
            <a:avLst/>
          </a:prstGeom>
          <a:noFill/>
        </p:spPr>
        <p:txBody>
          <a:bodyPr wrap="none" rtlCol="0">
            <a:spAutoFit/>
          </a:bodyPr>
          <a:lstStyle/>
          <a:p>
            <a:r>
              <a:rPr lang="zh-CN" altLang="en-US" sz="16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专属性</a:t>
            </a:r>
            <a:endParaRPr lang="zh-CN" altLang="en-US" sz="1600" b="1" spc="3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矩形 41"/>
          <p:cNvSpPr/>
          <p:nvPr/>
        </p:nvSpPr>
        <p:spPr>
          <a:xfrm>
            <a:off x="6662645" y="1808770"/>
            <a:ext cx="1342171" cy="1060450"/>
          </a:xfrm>
          <a:prstGeom prst="rect">
            <a:avLst/>
          </a:prstGeom>
        </p:spPr>
        <p:txBody>
          <a:bodyPr wrap="square">
            <a:spAutoFit/>
          </a:bodyPr>
          <a:lstStyle/>
          <a:p>
            <a:pPr algn="ctr"/>
            <a:r>
              <a:rPr lang="zh-CN" altLang="en-US" sz="105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指企业能够获取或内部化企业社会责任项目的利益，而不是仅仅提供一种能被产业中其他企业共享的集体产品。</a:t>
            </a:r>
            <a:endParaRPr lang="zh-CN" altLang="en-US" sz="105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圆角矩形 42"/>
          <p:cNvSpPr/>
          <p:nvPr/>
        </p:nvSpPr>
        <p:spPr>
          <a:xfrm>
            <a:off x="4890760" y="3077084"/>
            <a:ext cx="3397260" cy="1643090"/>
          </a:xfrm>
          <a:prstGeom prst="roundRect">
            <a:avLst>
              <a:gd name="adj" fmla="val 12535"/>
            </a:avLst>
          </a:prstGeom>
          <a:gradFill>
            <a:gsLst>
              <a:gs pos="92000">
                <a:srgbClr val="FAFCFB"/>
              </a:gs>
              <a:gs pos="15000">
                <a:srgbClr val="CDCED0"/>
              </a:gs>
            </a:gsLst>
            <a:lin ang="2700000" scaled="1"/>
          </a:gradFill>
          <a:ln w="22225">
            <a:gradFill>
              <a:gsLst>
                <a:gs pos="36000">
                  <a:srgbClr val="FCFCFC"/>
                </a:gs>
                <a:gs pos="71000">
                  <a:srgbClr val="FAFCFB"/>
                </a:gs>
              </a:gsLst>
              <a:lin ang="3000000" scaled="0"/>
            </a:gra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44" name="图片 43"/>
          <p:cNvPicPr>
            <a:picLocks noChangeAspect="1"/>
          </p:cNvPicPr>
          <p:nvPr/>
        </p:nvPicPr>
        <p:blipFill rotWithShape="1">
          <a:blip r:embed="rId7" cstate="print">
            <a:extLst>
              <a:ext uri="{28A0092B-C50C-407E-A947-70E740481C1C}">
                <a14:useLocalDpi xmlns:a14="http://schemas.microsoft.com/office/drawing/2010/main" val="0"/>
              </a:ext>
            </a:extLst>
          </a:blip>
          <a:srcRect l="29018" t="45777" r="45184" b="1"/>
          <a:stretch>
            <a:fillRect/>
          </a:stretch>
        </p:blipFill>
        <p:spPr>
          <a:xfrm>
            <a:off x="5042275" y="3189557"/>
            <a:ext cx="1295025" cy="1492755"/>
          </a:xfrm>
          <a:prstGeom prst="rect">
            <a:avLst/>
          </a:prstGeom>
          <a:solidFill>
            <a:srgbClr val="FFFFFF">
              <a:shade val="85000"/>
            </a:srgbClr>
          </a:solidFill>
          <a:ln w="381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45" name="组合 44"/>
          <p:cNvGrpSpPr/>
          <p:nvPr/>
        </p:nvGrpSpPr>
        <p:grpSpPr>
          <a:xfrm>
            <a:off x="6065837" y="3632785"/>
            <a:ext cx="561653" cy="589655"/>
            <a:chOff x="6106477" y="3764865"/>
            <a:chExt cx="561653" cy="589655"/>
          </a:xfrm>
        </p:grpSpPr>
        <p:grpSp>
          <p:nvGrpSpPr>
            <p:cNvPr id="46" name="组合 45"/>
            <p:cNvGrpSpPr/>
            <p:nvPr/>
          </p:nvGrpSpPr>
          <p:grpSpPr>
            <a:xfrm>
              <a:off x="6106477" y="3779398"/>
              <a:ext cx="561653" cy="575122"/>
              <a:chOff x="304800" y="673100"/>
              <a:chExt cx="4000500" cy="4000500"/>
            </a:xfrm>
            <a:effectLst>
              <a:outerShdw blurRad="444500" dist="254000" dir="8100000" algn="tr" rotWithShape="0">
                <a:prstClr val="black">
                  <a:alpha val="50000"/>
                </a:prstClr>
              </a:outerShdw>
            </a:effectLst>
          </p:grpSpPr>
          <p:sp>
            <p:nvSpPr>
              <p:cNvPr id="48" name="同心圆 47"/>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49" name="椭圆 48"/>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47" name="TextBox 46"/>
            <p:cNvSpPr txBox="1"/>
            <p:nvPr/>
          </p:nvSpPr>
          <p:spPr>
            <a:xfrm>
              <a:off x="6167335" y="3764865"/>
              <a:ext cx="412292" cy="584775"/>
            </a:xfrm>
            <a:prstGeom prst="rect">
              <a:avLst/>
            </a:prstGeom>
            <a:noFill/>
          </p:spPr>
          <p:txBody>
            <a:bodyPr wrap="none" rtlCol="0">
              <a:spAutoFit/>
            </a:bodyPr>
            <a:lstStyle/>
            <a:p>
              <a:r>
                <a:rPr lang="en-US" altLang="zh-CN" sz="3200"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4</a:t>
              </a:r>
              <a:endParaRPr lang="zh-CN" altLang="en-US" sz="32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0" name="TextBox 49"/>
          <p:cNvSpPr txBox="1"/>
          <p:nvPr/>
        </p:nvSpPr>
        <p:spPr>
          <a:xfrm>
            <a:off x="6875913" y="3271480"/>
            <a:ext cx="906780" cy="337185"/>
          </a:xfrm>
          <a:prstGeom prst="rect">
            <a:avLst/>
          </a:prstGeom>
          <a:noFill/>
        </p:spPr>
        <p:txBody>
          <a:bodyPr wrap="none" rtlCol="0">
            <a:spAutoFit/>
          </a:bodyPr>
          <a:lstStyle/>
          <a:p>
            <a:r>
              <a:rPr lang="zh-CN" altLang="en-US" sz="16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可见性</a:t>
            </a:r>
            <a:endParaRPr lang="zh-CN" altLang="en-US" sz="1600" b="1" spc="3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51" name="矩形 50"/>
          <p:cNvSpPr/>
          <p:nvPr/>
        </p:nvSpPr>
        <p:spPr>
          <a:xfrm>
            <a:off x="6662645" y="3668050"/>
            <a:ext cx="1342171" cy="899160"/>
          </a:xfrm>
          <a:prstGeom prst="rect">
            <a:avLst/>
          </a:prstGeom>
        </p:spPr>
        <p:txBody>
          <a:bodyPr wrap="square">
            <a:spAutoFit/>
          </a:bodyPr>
          <a:lstStyle/>
          <a:p>
            <a:pPr algn="ctr"/>
            <a:r>
              <a:rPr lang="zh-CN" altLang="en-US" sz="105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既表示企业的活动是可观察到的，同时要求企业活动能得到内部和外部利益相关者的认同。</a:t>
            </a:r>
            <a:endParaRPr lang="zh-CN" altLang="en-US" sz="105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圆角矩形 51"/>
          <p:cNvSpPr/>
          <p:nvPr/>
        </p:nvSpPr>
        <p:spPr>
          <a:xfrm>
            <a:off x="1179820" y="3077084"/>
            <a:ext cx="3397260" cy="1643090"/>
          </a:xfrm>
          <a:prstGeom prst="roundRect">
            <a:avLst>
              <a:gd name="adj" fmla="val 12535"/>
            </a:avLst>
          </a:prstGeom>
          <a:gradFill>
            <a:gsLst>
              <a:gs pos="92000">
                <a:srgbClr val="FAFCFB"/>
              </a:gs>
              <a:gs pos="15000">
                <a:srgbClr val="CDCED0"/>
              </a:gs>
            </a:gsLst>
            <a:lin ang="2700000" scaled="1"/>
          </a:gradFill>
          <a:ln w="22225">
            <a:gradFill>
              <a:gsLst>
                <a:gs pos="36000">
                  <a:srgbClr val="FCFCFC"/>
                </a:gs>
                <a:gs pos="71000">
                  <a:srgbClr val="FAFCFB"/>
                </a:gs>
              </a:gsLst>
              <a:lin ang="3000000" scaled="0"/>
            </a:gra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53" name="图片 52"/>
          <p:cNvPicPr>
            <a:picLocks noChangeAspect="1"/>
          </p:cNvPicPr>
          <p:nvPr/>
        </p:nvPicPr>
        <p:blipFill rotWithShape="1">
          <a:blip r:embed="rId7" cstate="print">
            <a:extLst>
              <a:ext uri="{28A0092B-C50C-407E-A947-70E740481C1C}">
                <a14:useLocalDpi xmlns:a14="http://schemas.microsoft.com/office/drawing/2010/main" val="0"/>
              </a:ext>
            </a:extLst>
          </a:blip>
          <a:srcRect l="29018" t="45777" r="45184" b="1"/>
          <a:stretch>
            <a:fillRect/>
          </a:stretch>
        </p:blipFill>
        <p:spPr>
          <a:xfrm>
            <a:off x="1331335" y="3189557"/>
            <a:ext cx="1295025" cy="1492755"/>
          </a:xfrm>
          <a:prstGeom prst="rect">
            <a:avLst/>
          </a:prstGeom>
          <a:solidFill>
            <a:srgbClr val="FFFFFF">
              <a:shade val="85000"/>
            </a:srgbClr>
          </a:solidFill>
          <a:ln w="381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54" name="组合 53"/>
          <p:cNvGrpSpPr/>
          <p:nvPr/>
        </p:nvGrpSpPr>
        <p:grpSpPr>
          <a:xfrm>
            <a:off x="2354897" y="3632785"/>
            <a:ext cx="561653" cy="589655"/>
            <a:chOff x="2395537" y="3764865"/>
            <a:chExt cx="561653" cy="589655"/>
          </a:xfrm>
        </p:grpSpPr>
        <p:grpSp>
          <p:nvGrpSpPr>
            <p:cNvPr id="55" name="组合 54"/>
            <p:cNvGrpSpPr/>
            <p:nvPr/>
          </p:nvGrpSpPr>
          <p:grpSpPr>
            <a:xfrm>
              <a:off x="2395537" y="3779398"/>
              <a:ext cx="561653" cy="575122"/>
              <a:chOff x="304800" y="673100"/>
              <a:chExt cx="4000500" cy="4000500"/>
            </a:xfrm>
            <a:effectLst>
              <a:outerShdw blurRad="444500" dist="254000" dir="8100000" algn="tr" rotWithShape="0">
                <a:prstClr val="black">
                  <a:alpha val="50000"/>
                </a:prstClr>
              </a:outerShdw>
            </a:effectLst>
          </p:grpSpPr>
          <p:sp>
            <p:nvSpPr>
              <p:cNvPr id="57" name="同心圆 56"/>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椭圆 57"/>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6" name="TextBox 55"/>
            <p:cNvSpPr txBox="1"/>
            <p:nvPr/>
          </p:nvSpPr>
          <p:spPr>
            <a:xfrm>
              <a:off x="2466555" y="3764865"/>
              <a:ext cx="412292" cy="584775"/>
            </a:xfrm>
            <a:prstGeom prst="rect">
              <a:avLst/>
            </a:prstGeom>
            <a:noFill/>
          </p:spPr>
          <p:txBody>
            <a:bodyPr wrap="none" rtlCol="0">
              <a:spAutoFit/>
            </a:bodyPr>
            <a:lstStyle/>
            <a:p>
              <a:r>
                <a:rPr lang="en-US" altLang="zh-CN" sz="3200"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3</a:t>
              </a:r>
              <a:endParaRPr lang="zh-CN" altLang="en-US" sz="32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9" name="TextBox 58"/>
          <p:cNvSpPr txBox="1"/>
          <p:nvPr/>
        </p:nvSpPr>
        <p:spPr>
          <a:xfrm>
            <a:off x="2891820" y="3271480"/>
            <a:ext cx="1389380" cy="337185"/>
          </a:xfrm>
          <a:prstGeom prst="rect">
            <a:avLst/>
          </a:prstGeom>
          <a:noFill/>
        </p:spPr>
        <p:txBody>
          <a:bodyPr wrap="none" rtlCol="0">
            <a:spAutoFit/>
          </a:bodyPr>
          <a:lstStyle/>
          <a:p>
            <a:r>
              <a:rPr lang="zh-CN" altLang="en-US" sz="16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超前反应性</a:t>
            </a:r>
            <a:endParaRPr lang="zh-CN" altLang="en-US" sz="1600" b="1" spc="3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60" name="矩形 59"/>
          <p:cNvSpPr/>
          <p:nvPr/>
        </p:nvSpPr>
        <p:spPr>
          <a:xfrm>
            <a:off x="2922209" y="3668050"/>
            <a:ext cx="1342171" cy="899160"/>
          </a:xfrm>
          <a:prstGeom prst="rect">
            <a:avLst/>
          </a:prstGeom>
        </p:spPr>
        <p:txBody>
          <a:bodyPr wrap="square">
            <a:spAutoFit/>
          </a:bodyPr>
          <a:lstStyle/>
          <a:p>
            <a:pPr algn="ctr"/>
            <a:r>
              <a:rPr lang="zh-CN" altLang="en-US" sz="105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企业对预期出现的经济的、技术的、社会的或政治的趋势提前做出应对的行为</a:t>
            </a:r>
            <a:endParaRPr lang="zh-CN" altLang="en-US" sz="105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TextBox 60"/>
          <p:cNvSpPr txBox="1"/>
          <p:nvPr/>
        </p:nvSpPr>
        <p:spPr>
          <a:xfrm>
            <a:off x="2796990" y="722183"/>
            <a:ext cx="3980180" cy="398780"/>
          </a:xfrm>
          <a:prstGeom prst="rect">
            <a:avLst/>
          </a:prstGeom>
          <a:noFill/>
        </p:spPr>
        <p:txBody>
          <a:bodyPr wrap="none" rtlCol="0">
            <a:spAutoFit/>
          </a:bodyPr>
          <a:lstStyle/>
          <a:p>
            <a:r>
              <a:rPr lang="zh-CN" altLang="en-US" sz="2000" spc="300" dirty="0">
                <a:latin typeface="Arial" panose="020B0604020202020204" pitchFamily="34" charset="0"/>
                <a:ea typeface="微软雅黑" panose="020B0503020204020204" pitchFamily="34" charset="-122"/>
                <a:sym typeface="Arial" panose="020B0604020202020204" pitchFamily="34" charset="0"/>
              </a:rPr>
              <a:t>战略性企业社会责任</a:t>
            </a:r>
            <a:r>
              <a:rPr lang="zh-CN" altLang="en-US" sz="2000" spc="300" dirty="0" smtClean="0">
                <a:latin typeface="Arial" panose="020B0604020202020204" pitchFamily="34" charset="0"/>
                <a:ea typeface="微软雅黑" panose="020B0503020204020204" pitchFamily="34" charset="-122"/>
                <a:sym typeface="Arial" panose="020B0604020202020204" pitchFamily="34" charset="0"/>
              </a:rPr>
              <a:t>活动特征</a:t>
            </a:r>
            <a:endParaRPr lang="zh-CN" altLang="en-US" sz="2000" spc="300" dirty="0">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709930" y="140335"/>
            <a:ext cx="2961005" cy="360045"/>
          </a:xfrm>
        </p:spPr>
        <p:txBody>
          <a:bodyPr>
            <a:noAutofit/>
          </a:bodyPr>
          <a:p>
            <a:r>
              <a:rPr lang="zh-CN" altLang="en-US" sz="18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企业的战略性社会责任</a:t>
            </a:r>
            <a:endParaRPr lang="zh-CN" altLang="en-US" sz="1800" b="1" spc="3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8"/>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2419350" y="235005"/>
            <a:ext cx="4543425" cy="4365569"/>
          </a:xfrm>
          <a:prstGeom prst="ellipse">
            <a:avLst/>
          </a:prstGeom>
        </p:spPr>
      </p:pic>
      <p:sp>
        <p:nvSpPr>
          <p:cNvPr id="6" name="TextBox 6"/>
          <p:cNvSpPr txBox="1">
            <a:spLocks noChangeArrowheads="1"/>
          </p:cNvSpPr>
          <p:nvPr/>
        </p:nvSpPr>
        <p:spPr bwMode="auto">
          <a:xfrm>
            <a:off x="3035300" y="2636429"/>
            <a:ext cx="33020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vl2pPr/>
            <a:lvl3pPr/>
            <a:lvl4pPr/>
            <a:lvl5pPr/>
            <a:lvl6pPr/>
            <a:lvl7pPr/>
            <a:lvl8pPr/>
            <a:lvl9pPr/>
          </a:lstStyle>
          <a:p>
            <a:pPr algn="ctr"/>
            <a:r>
              <a:rPr lang="zh-CN" altLang="en-US" sz="2400" b="1" dirty="0">
                <a:solidFill>
                  <a:srgbClr val="0067B0"/>
                </a:solidFill>
                <a:latin typeface="Arial" panose="020B0604020202020204" pitchFamily="34" charset="0"/>
                <a:ea typeface="微软雅黑" panose="020B0503020204020204" pitchFamily="34" charset="-122"/>
                <a:sym typeface="Arial" panose="020B0604020202020204" pitchFamily="34" charset="0"/>
              </a:rPr>
              <a:t>企业的</a:t>
            </a:r>
            <a:r>
              <a:rPr lang="zh-CN" altLang="en-US" sz="2400" b="1"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性质与</a:t>
            </a:r>
            <a:endParaRPr lang="en-US" altLang="zh-CN" sz="2400" b="1"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a:p>
            <a:pPr algn="ctr"/>
            <a:r>
              <a:rPr lang="zh-CN" altLang="en-US" sz="2400" b="1"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利益相关者</a:t>
            </a:r>
            <a:endParaRPr lang="zh-CN" altLang="en-US" sz="2400" b="1"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TextBox 6"/>
          <p:cNvSpPr txBox="1">
            <a:spLocks noChangeArrowheads="1"/>
          </p:cNvSpPr>
          <p:nvPr/>
        </p:nvSpPr>
        <p:spPr bwMode="auto">
          <a:xfrm>
            <a:off x="4245799" y="1456711"/>
            <a:ext cx="915481"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vl2pPr/>
            <a:lvl3pPr/>
            <a:lvl4pPr/>
            <a:lvl5pPr/>
            <a:lvl6pPr/>
            <a:lvl7pPr/>
            <a:lvl8pPr/>
            <a:lvl9pPr/>
          </a:lstStyle>
          <a:p>
            <a:r>
              <a:rPr lang="en-US" altLang="zh-CN" sz="72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1</a:t>
            </a:r>
            <a:endParaRPr lang="zh-CN" sz="72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组合 74"/>
          <p:cNvGrpSpPr/>
          <p:nvPr/>
        </p:nvGrpSpPr>
        <p:grpSpPr>
          <a:xfrm>
            <a:off x="457128" y="2612984"/>
            <a:ext cx="1335946" cy="1335946"/>
            <a:chOff x="304800" y="673100"/>
            <a:chExt cx="4000500" cy="4000500"/>
          </a:xfrm>
          <a:effectLst>
            <a:outerShdw blurRad="444500" dist="254000" dir="8100000" algn="tr" rotWithShape="0">
              <a:prstClr val="black">
                <a:alpha val="50000"/>
              </a:prstClr>
            </a:outerShdw>
          </a:effectLst>
        </p:grpSpPr>
        <p:sp>
          <p:nvSpPr>
            <p:cNvPr id="76" name="同心圆 75"/>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77" name="椭圆 76"/>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评价</a:t>
              </a:r>
              <a:endParaRPr lang="en-US" altLang="zh-CN" b="1" dirty="0" smtClean="0">
                <a:solidFill>
                  <a:srgbClr val="03A9F3"/>
                </a:solidFill>
                <a:latin typeface="Arial" panose="020B0604020202020204" pitchFamily="34" charset="0"/>
                <a:ea typeface="微软雅黑" panose="020B0503020204020204" pitchFamily="34" charset="-122"/>
                <a:sym typeface="Arial" panose="020B0604020202020204" pitchFamily="34" charset="0"/>
              </a:endParaRPr>
            </a:p>
            <a:p>
              <a:pPr algn="ctr"/>
              <a:r>
                <a:rPr lang="zh-CN" altLang="en-US" b="1"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标准</a:t>
              </a:r>
              <a:endParaRPr lang="zh-CN" altLang="en-US" b="1"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3" name="组合 82"/>
          <p:cNvGrpSpPr/>
          <p:nvPr/>
        </p:nvGrpSpPr>
        <p:grpSpPr>
          <a:xfrm>
            <a:off x="2564623" y="2192284"/>
            <a:ext cx="811400" cy="811400"/>
            <a:chOff x="304800" y="673100"/>
            <a:chExt cx="4000500" cy="4000500"/>
          </a:xfrm>
          <a:effectLst>
            <a:outerShdw blurRad="317500" dist="190500" dir="8100000" algn="tr" rotWithShape="0">
              <a:prstClr val="black">
                <a:alpha val="50000"/>
              </a:prstClr>
            </a:outerShdw>
          </a:effectLst>
        </p:grpSpPr>
        <p:sp>
          <p:nvSpPr>
            <p:cNvPr id="84" name="同心圆 83"/>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85" name="椭圆 84"/>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2" name="左大括号 1"/>
          <p:cNvSpPr/>
          <p:nvPr/>
        </p:nvSpPr>
        <p:spPr>
          <a:xfrm>
            <a:off x="1907835" y="2460523"/>
            <a:ext cx="370707" cy="1631697"/>
          </a:xfrm>
          <a:prstGeom prst="leftBrace">
            <a:avLst/>
          </a:prstGeom>
          <a:ln w="38100">
            <a:solidFill>
              <a:schemeClr val="bg1">
                <a:lumMod val="50000"/>
              </a:schemeClr>
            </a:solidFill>
          </a:ln>
          <a:effectLst>
            <a:outerShdw blurRad="139700" dist="63500" dir="8100000" sx="98000" sy="98000" algn="tr" rotWithShape="0">
              <a:prstClr val="black">
                <a:alpha val="5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39" name="椭圆 38"/>
          <p:cNvSpPr/>
          <p:nvPr/>
        </p:nvSpPr>
        <p:spPr>
          <a:xfrm>
            <a:off x="2603558" y="3689388"/>
            <a:ext cx="772465" cy="777913"/>
          </a:xfrm>
          <a:prstGeom prst="ellipse">
            <a:avLst/>
          </a:prstGeom>
          <a:solidFill>
            <a:srgbClr val="0067B0"/>
          </a:solidFill>
          <a:ln>
            <a:noFill/>
          </a:ln>
          <a:effectLst>
            <a:outerShdw blurRad="317500" dist="1905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41" name="TextBox 40"/>
          <p:cNvSpPr txBox="1"/>
          <p:nvPr/>
        </p:nvSpPr>
        <p:spPr>
          <a:xfrm>
            <a:off x="2556936" y="2465165"/>
            <a:ext cx="844487" cy="306705"/>
          </a:xfrm>
          <a:prstGeom prst="rect">
            <a:avLst/>
          </a:prstGeom>
          <a:noFill/>
        </p:spPr>
        <p:txBody>
          <a:bodyPr wrap="square" rtlCol="0">
            <a:spAutoFit/>
          </a:bodyPr>
          <a:lstStyle/>
          <a:p>
            <a:r>
              <a:rPr lang="en-US" altLang="zh-CN" sz="1400" dirty="0">
                <a:solidFill>
                  <a:srgbClr val="03A9F3"/>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SA8000</a:t>
            </a:r>
            <a:endParaRPr lang="zh-CN" altLang="en-US" sz="1400" dirty="0">
              <a:solidFill>
                <a:srgbClr val="03A9F3"/>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45" name="TextBox 44"/>
          <p:cNvSpPr txBox="1"/>
          <p:nvPr/>
        </p:nvSpPr>
        <p:spPr>
          <a:xfrm>
            <a:off x="2584606" y="3808643"/>
            <a:ext cx="816818" cy="521970"/>
          </a:xfrm>
          <a:prstGeom prst="rect">
            <a:avLst/>
          </a:prstGeom>
          <a:noFill/>
        </p:spPr>
        <p:txBody>
          <a:bodyPr wrap="square" rtlCol="0">
            <a:spAutoFit/>
          </a:bodyPr>
          <a:lstStyle/>
          <a:p>
            <a:r>
              <a:rPr lang="en-US" altLang="zh-CN" sz="14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ISO14001</a:t>
            </a:r>
            <a:r>
              <a:rPr lang="zh-CN" alt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标准</a:t>
            </a:r>
            <a:endParaRPr lang="zh-CN" altLang="en-US" sz="14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47" name="TextBox 46"/>
          <p:cNvSpPr txBox="1"/>
          <p:nvPr/>
        </p:nvSpPr>
        <p:spPr>
          <a:xfrm>
            <a:off x="3514168" y="2263542"/>
            <a:ext cx="4814492" cy="866140"/>
          </a:xfrm>
          <a:prstGeom prst="rect">
            <a:avLst/>
          </a:prstGeom>
          <a:noFill/>
        </p:spPr>
        <p:txBody>
          <a:bodyPr wrap="square" rtlCol="0">
            <a:spAutoFit/>
          </a:bodyPr>
          <a:lstStyle/>
          <a:p>
            <a:pPr>
              <a:lnSpc>
                <a:spcPct val="120000"/>
              </a:lnSpc>
            </a:pPr>
            <a:r>
              <a:rPr lang="zh-CN" altLang="en-US" sz="14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包括童工、强迫劳动、健康与安全、结社自由及集体谈判权利、歧视、惩戒性措施、工作时间、工资报酬、管理体系</a:t>
            </a:r>
            <a:r>
              <a:rPr lang="en-US" altLang="zh-CN" sz="14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9</a:t>
            </a:r>
            <a:r>
              <a:rPr lang="zh-CN" altLang="en-US" sz="14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个要素及若干子要素</a:t>
            </a:r>
            <a:endParaRPr lang="zh-CN" altLang="en-US" sz="14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TextBox 47"/>
          <p:cNvSpPr txBox="1"/>
          <p:nvPr/>
        </p:nvSpPr>
        <p:spPr>
          <a:xfrm>
            <a:off x="3524676" y="3821278"/>
            <a:ext cx="4824304" cy="607695"/>
          </a:xfrm>
          <a:prstGeom prst="rect">
            <a:avLst/>
          </a:prstGeom>
          <a:noFill/>
        </p:spPr>
        <p:txBody>
          <a:bodyPr wrap="square" rtlCol="0">
            <a:spAutoFit/>
          </a:bodyPr>
          <a:lstStyle/>
          <a:p>
            <a:pPr>
              <a:lnSpc>
                <a:spcPct val="120000"/>
              </a:lnSpc>
            </a:pPr>
            <a:r>
              <a:rPr lang="zh-CN" altLang="en-US" sz="14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包括环境方针、规划、实施与运行、检查与纠正措施、管理评审五大部分</a:t>
            </a:r>
            <a:r>
              <a:rPr lang="en-US" altLang="zh-CN" sz="14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17</a:t>
            </a:r>
            <a:r>
              <a:rPr lang="zh-CN" altLang="en-US" sz="14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个要素</a:t>
            </a:r>
            <a:endParaRPr lang="zh-CN" altLang="en-US" sz="14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35" name="图片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TextBox 27"/>
          <p:cNvSpPr txBox="1"/>
          <p:nvPr/>
        </p:nvSpPr>
        <p:spPr>
          <a:xfrm>
            <a:off x="281268" y="1083423"/>
            <a:ext cx="8263292" cy="975995"/>
          </a:xfrm>
          <a:prstGeom prst="rect">
            <a:avLst/>
          </a:prstGeom>
          <a:noFill/>
        </p:spPr>
        <p:txBody>
          <a:bodyPr wrap="square" rtlCol="0">
            <a:spAutoFit/>
          </a:bodyPr>
          <a:lstStyle/>
          <a:p>
            <a:pPr>
              <a:lnSpc>
                <a:spcPct val="120000"/>
              </a:lnSpc>
              <a:spcBef>
                <a:spcPts val="1200"/>
              </a:spcBef>
              <a:buFont typeface="Wingdings" panose="05000000000000000000" pitchFamily="2" charset="2"/>
              <a:buChar char="l"/>
            </a:pP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较有影响力的企业社会责任评价标准有</a:t>
            </a:r>
            <a:r>
              <a:rPr lang="en-US" altLang="zh-CN" sz="1600"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SA8000 </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社会责任认证标准、</a:t>
            </a:r>
            <a:r>
              <a:rPr lang="en-US" altLang="zh-CN"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ISO 14000</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系列标准（</a:t>
            </a:r>
            <a:r>
              <a:rPr lang="en-US" altLang="zh-CN"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1996</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OECD </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公司治理原则（</a:t>
            </a:r>
            <a:r>
              <a:rPr lang="en-US" altLang="zh-CN"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1998</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联合国全球协议、国际劳工协议（</a:t>
            </a:r>
            <a:r>
              <a:rPr lang="en-US" altLang="zh-CN"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Fundamental ILO Conventions</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等</a:t>
            </a:r>
            <a:endParaRPr lang="en-US" altLang="zh-CN" sz="1600"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 name="标题 2"/>
          <p:cNvSpPr>
            <a:spLocks noGrp="1"/>
          </p:cNvSpPr>
          <p:nvPr>
            <p:ph type="title"/>
          </p:nvPr>
        </p:nvSpPr>
        <p:spPr>
          <a:xfrm>
            <a:off x="890905" y="144780"/>
            <a:ext cx="2145030" cy="346710"/>
          </a:xfrm>
        </p:spPr>
        <p:txBody>
          <a:bodyPr>
            <a:noAutofit/>
          </a:bodyPr>
          <a:p>
            <a:r>
              <a:rPr lang="zh-CN" altLang="en-US" sz="24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评价标准</a:t>
            </a:r>
            <a:endParaRPr lang="zh-CN" altLang="en-US" sz="2400" b="1" spc="3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2" imgW="5715" imgH="5715" progId="">
                  <p:embed/>
                </p:oleObj>
              </mc:Choice>
              <mc:Fallback>
                <p:oleObj name="think-cell Slide" r:id="rId2" imgW="5715" imgH="5715" progId="">
                  <p:embed/>
                  <p:pic>
                    <p:nvPicPr>
                      <p:cNvPr id="0" name="图片 15360"/>
                      <p:cNvPicPr>
                        <a:picLocks noChangeAspect="1"/>
                      </p:cNvPicPr>
                      <p:nvPr/>
                    </p:nvPicPr>
                    <p:blipFill>
                      <a:blip r:embed="rId3"/>
                      <a:stretch>
                        <a:fillRect/>
                      </a:stretch>
                    </p:blipFill>
                    <p:spPr>
                      <a:xfrm>
                        <a:off x="1588" y="1588"/>
                        <a:ext cx="1587" cy="1587"/>
                      </a:xfrm>
                      <a:prstGeom prst="rect">
                        <a:avLst/>
                      </a:prstGeom>
                      <a:noFill/>
                      <a:ln w="9525">
                        <a:noFill/>
                      </a:ln>
                    </p:spPr>
                  </p:pic>
                </p:oleObj>
              </mc:Fallback>
            </mc:AlternateContent>
          </a:graphicData>
        </a:graphic>
      </p:graphicFrame>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2490" y="140335"/>
            <a:ext cx="3152140" cy="364490"/>
          </a:xfrm>
          <a:prstGeom prst="homePlate">
            <a:avLst>
              <a:gd name="adj" fmla="val 34324"/>
            </a:avLst>
          </a:prstGeom>
        </p:spPr>
      </p:pic>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空心弧 40"/>
          <p:cNvSpPr>
            <a:spLocks noChangeArrowheads="1"/>
          </p:cNvSpPr>
          <p:nvPr/>
        </p:nvSpPr>
        <p:spPr bwMode="auto">
          <a:xfrm rot="5400000">
            <a:off x="645915" y="1153915"/>
            <a:ext cx="3068240" cy="3069431"/>
          </a:xfrm>
          <a:custGeom>
            <a:avLst/>
            <a:gdLst>
              <a:gd name="T0" fmla="*/ 387411545 w 21600"/>
              <a:gd name="T1" fmla="*/ 0 h 21600"/>
              <a:gd name="T2" fmla="*/ 4806720 w 21600"/>
              <a:gd name="T3" fmla="*/ 387712366 h 21600"/>
              <a:gd name="T4" fmla="*/ 387411545 w 21600"/>
              <a:gd name="T5" fmla="*/ 9656961 h 21600"/>
              <a:gd name="T6" fmla="*/ 770016179 w 21600"/>
              <a:gd name="T7" fmla="*/ 387712366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269" y="10800"/>
                </a:moveTo>
                <a:cubicBezTo>
                  <a:pt x="269" y="4983"/>
                  <a:pt x="4983" y="269"/>
                  <a:pt x="10800" y="269"/>
                </a:cubicBezTo>
                <a:cubicBezTo>
                  <a:pt x="16616" y="268"/>
                  <a:pt x="21330" y="4983"/>
                  <a:pt x="21331" y="10799"/>
                </a:cubicBezTo>
                <a:lnTo>
                  <a:pt x="21600" y="10800"/>
                </a:lnTo>
                <a:cubicBezTo>
                  <a:pt x="21600" y="4835"/>
                  <a:pt x="16764" y="0"/>
                  <a:pt x="10800" y="0"/>
                </a:cubicBezTo>
                <a:cubicBezTo>
                  <a:pt x="4835" y="0"/>
                  <a:pt x="0" y="4835"/>
                  <a:pt x="0" y="10800"/>
                </a:cubicBezTo>
                <a:lnTo>
                  <a:pt x="269" y="10800"/>
                </a:lnTo>
                <a:close/>
              </a:path>
            </a:pathLst>
          </a:custGeom>
          <a:solidFill>
            <a:schemeClr val="tx1">
              <a:lumMod val="65000"/>
              <a:lumOff val="35000"/>
              <a:alpha val="39999"/>
            </a:schemeClr>
          </a:solidFill>
          <a:ln>
            <a:noFill/>
          </a:ln>
        </p:spPr>
        <p:txBody>
          <a:bodyPr lIns="68573" tIns="34287" rIns="68573" bIns="34287"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9" name="直接连接符 52"/>
          <p:cNvSpPr>
            <a:spLocks noChangeShapeType="1"/>
          </p:cNvSpPr>
          <p:nvPr/>
        </p:nvSpPr>
        <p:spPr bwMode="auto">
          <a:xfrm>
            <a:off x="3150394" y="1394640"/>
            <a:ext cx="1079919" cy="1"/>
          </a:xfrm>
          <a:prstGeom prst="line">
            <a:avLst/>
          </a:prstGeom>
          <a:noFill/>
          <a:ln w="12700">
            <a:solidFill>
              <a:schemeClr val="bg1">
                <a:lumMod val="50000"/>
              </a:scheme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30" name="直接连接符 58"/>
          <p:cNvSpPr>
            <a:spLocks noChangeShapeType="1"/>
          </p:cNvSpPr>
          <p:nvPr/>
        </p:nvSpPr>
        <p:spPr bwMode="auto">
          <a:xfrm>
            <a:off x="3155157" y="3997127"/>
            <a:ext cx="1080350" cy="1"/>
          </a:xfrm>
          <a:prstGeom prst="line">
            <a:avLst/>
          </a:prstGeom>
          <a:noFill/>
          <a:ln w="12700">
            <a:solidFill>
              <a:schemeClr val="bg1">
                <a:lumMod val="50000"/>
              </a:scheme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cxnSp>
        <p:nvCxnSpPr>
          <p:cNvPr id="31" name="直接连接符 62"/>
          <p:cNvCxnSpPr>
            <a:cxnSpLocks noChangeShapeType="1"/>
          </p:cNvCxnSpPr>
          <p:nvPr/>
        </p:nvCxnSpPr>
        <p:spPr bwMode="auto">
          <a:xfrm>
            <a:off x="3789760" y="2209404"/>
            <a:ext cx="1805985" cy="1"/>
          </a:xfrm>
          <a:prstGeom prst="line">
            <a:avLst/>
          </a:prstGeom>
          <a:noFill/>
          <a:ln w="12700">
            <a:solidFill>
              <a:schemeClr val="bg1">
                <a:lumMod val="50000"/>
              </a:schemeClr>
            </a:solidFill>
            <a:bevel/>
          </a:ln>
          <a:extLst>
            <a:ext uri="{909E8E84-426E-40DD-AFC4-6F175D3DCCD1}">
              <a14:hiddenFill xmlns:a14="http://schemas.microsoft.com/office/drawing/2010/main">
                <a:noFill/>
              </a14:hiddenFill>
            </a:ext>
          </a:extLst>
        </p:spPr>
      </p:cxnSp>
      <p:sp>
        <p:nvSpPr>
          <p:cNvPr id="36" name="直接连接符 66"/>
          <p:cNvSpPr>
            <a:spLocks noChangeShapeType="1"/>
          </p:cNvSpPr>
          <p:nvPr/>
        </p:nvSpPr>
        <p:spPr bwMode="auto">
          <a:xfrm>
            <a:off x="3799285" y="3171547"/>
            <a:ext cx="1778982" cy="1"/>
          </a:xfrm>
          <a:prstGeom prst="line">
            <a:avLst/>
          </a:prstGeom>
          <a:noFill/>
          <a:ln w="12700">
            <a:solidFill>
              <a:schemeClr val="bg1">
                <a:lumMod val="50000"/>
              </a:scheme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37" name="矩形 71"/>
          <p:cNvSpPr>
            <a:spLocks noChangeArrowheads="1"/>
          </p:cNvSpPr>
          <p:nvPr/>
        </p:nvSpPr>
        <p:spPr bwMode="auto">
          <a:xfrm>
            <a:off x="4981575" y="941387"/>
            <a:ext cx="1278890" cy="297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zh-CN" altLang="en-US" sz="1500" b="1" dirty="0" smtClean="0">
                <a:latin typeface="Arial" panose="020B0604020202020204" pitchFamily="34" charset="0"/>
                <a:ea typeface="微软雅黑" panose="020B0503020204020204" pitchFamily="34" charset="-122"/>
                <a:sym typeface="Arial" panose="020B0604020202020204" pitchFamily="34" charset="0"/>
              </a:rPr>
              <a:t>消极反应战略</a:t>
            </a:r>
            <a:endParaRPr lang="en-US" altLang="zh-CN" sz="1500" b="1" dirty="0">
              <a:latin typeface="Arial" panose="020B0604020202020204" pitchFamily="34" charset="0"/>
              <a:ea typeface="微软雅黑" panose="020B0503020204020204" pitchFamily="34" charset="-122"/>
              <a:sym typeface="Arial" panose="020B0604020202020204" pitchFamily="34" charset="0"/>
            </a:endParaRPr>
          </a:p>
        </p:txBody>
      </p:sp>
      <p:sp>
        <p:nvSpPr>
          <p:cNvPr id="38" name="矩形 47"/>
          <p:cNvSpPr>
            <a:spLocks noChangeArrowheads="1"/>
          </p:cNvSpPr>
          <p:nvPr/>
        </p:nvSpPr>
        <p:spPr bwMode="auto">
          <a:xfrm>
            <a:off x="4983956" y="1217613"/>
            <a:ext cx="3779044" cy="438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10000"/>
              </a:lnSpc>
              <a:spcBef>
                <a:spcPct val="0"/>
              </a:spcBef>
              <a:buFont typeface="Arial" panose="020B0604020202020204" pitchFamily="34" charset="0"/>
              <a:buNone/>
            </a:pPr>
            <a:r>
              <a:rPr lang="zh-CN" altLang="en-US" sz="11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未能甚至不愿意按照社会责任方式行动。尽可能地隐瞒自己的不负责任行为，有可能在社会上造成极坏的</a:t>
            </a:r>
            <a:r>
              <a:rPr lang="zh-CN" altLang="en-US" sz="1100" dirty="0" smtClean="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影响</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矩形 73"/>
          <p:cNvSpPr>
            <a:spLocks noChangeArrowheads="1"/>
          </p:cNvSpPr>
          <p:nvPr/>
        </p:nvSpPr>
        <p:spPr bwMode="auto">
          <a:xfrm>
            <a:off x="4981575" y="3603625"/>
            <a:ext cx="1659890" cy="297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zh-CN" altLang="en-US" sz="1500" b="1" dirty="0">
                <a:latin typeface="Arial" panose="020B0604020202020204" pitchFamily="34" charset="0"/>
                <a:ea typeface="微软雅黑" panose="020B0503020204020204" pitchFamily="34" charset="-122"/>
                <a:sym typeface="Arial" panose="020B0604020202020204" pitchFamily="34" charset="0"/>
              </a:rPr>
              <a:t>提前采取行动战略</a:t>
            </a:r>
            <a:endParaRPr lang="en-US" altLang="zh-CN" sz="1500" b="1" dirty="0">
              <a:latin typeface="Arial" panose="020B0604020202020204" pitchFamily="34" charset="0"/>
              <a:ea typeface="微软雅黑" panose="020B0503020204020204" pitchFamily="34" charset="-122"/>
              <a:sym typeface="Arial" panose="020B0604020202020204" pitchFamily="34" charset="0"/>
            </a:endParaRPr>
          </a:p>
        </p:txBody>
      </p:sp>
      <p:sp>
        <p:nvSpPr>
          <p:cNvPr id="42" name="矩形 47"/>
          <p:cNvSpPr>
            <a:spLocks noChangeArrowheads="1"/>
          </p:cNvSpPr>
          <p:nvPr/>
        </p:nvSpPr>
        <p:spPr bwMode="auto">
          <a:xfrm>
            <a:off x="4983956" y="3879851"/>
            <a:ext cx="4160044" cy="810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10000"/>
              </a:lnSpc>
              <a:spcBef>
                <a:spcPct val="0"/>
              </a:spcBef>
              <a:buFont typeface="Arial" panose="020B0604020202020204" pitchFamily="34" charset="0"/>
              <a:buNone/>
            </a:pPr>
            <a:r>
              <a:rPr lang="zh-CN" altLang="en-US" sz="11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企业在责任到来之前提前采取行动，担负起社会赋予它的责任，以防患于未然。企业既不单单是追求利润的工具，也不是公共法则的附属，而是积极履行社会责任，一旦发生社会责任问题勇于去承担，努力开展改善社会福利，奉献社会的</a:t>
            </a:r>
            <a:r>
              <a:rPr lang="zh-CN" altLang="en-US" sz="1100" dirty="0" smtClean="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活动</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矩形 75"/>
          <p:cNvSpPr>
            <a:spLocks noChangeArrowheads="1"/>
          </p:cNvSpPr>
          <p:nvPr/>
        </p:nvSpPr>
        <p:spPr bwMode="auto">
          <a:xfrm>
            <a:off x="6357938" y="1767681"/>
            <a:ext cx="897890" cy="297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zh-CN" altLang="en-US" sz="1500" b="1" dirty="0">
                <a:latin typeface="Arial" panose="020B0604020202020204" pitchFamily="34" charset="0"/>
                <a:ea typeface="微软雅黑" panose="020B0503020204020204" pitchFamily="34" charset="-122"/>
                <a:sym typeface="Arial" panose="020B0604020202020204" pitchFamily="34" charset="0"/>
              </a:rPr>
              <a:t>抵御战略</a:t>
            </a:r>
            <a:endParaRPr lang="en-US" altLang="zh-CN" sz="1500" b="1" dirty="0">
              <a:latin typeface="Arial" panose="020B0604020202020204" pitchFamily="34" charset="0"/>
              <a:ea typeface="微软雅黑" panose="020B0503020204020204" pitchFamily="34" charset="-122"/>
              <a:sym typeface="Arial" panose="020B0604020202020204" pitchFamily="34" charset="0"/>
            </a:endParaRPr>
          </a:p>
        </p:txBody>
      </p:sp>
      <p:sp>
        <p:nvSpPr>
          <p:cNvPr id="44" name="矩形 47"/>
          <p:cNvSpPr>
            <a:spLocks noChangeArrowheads="1"/>
          </p:cNvSpPr>
          <p:nvPr/>
        </p:nvSpPr>
        <p:spPr bwMode="auto">
          <a:xfrm>
            <a:off x="6360318" y="2042716"/>
            <a:ext cx="2783682" cy="438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10000"/>
              </a:lnSpc>
              <a:spcBef>
                <a:spcPct val="0"/>
              </a:spcBef>
              <a:buFont typeface="Arial" panose="020B0604020202020204" pitchFamily="34" charset="0"/>
              <a:buNone/>
            </a:pPr>
            <a:r>
              <a:rPr lang="zh-CN" altLang="en-US" sz="11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为了保住他们现有的位置，采取不积极的防御</a:t>
            </a:r>
            <a:r>
              <a:rPr lang="zh-CN" altLang="en-US" sz="1100" dirty="0" smtClean="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战略</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6" name="矩形 77"/>
          <p:cNvSpPr>
            <a:spLocks noChangeArrowheads="1"/>
          </p:cNvSpPr>
          <p:nvPr/>
        </p:nvSpPr>
        <p:spPr bwMode="auto">
          <a:xfrm>
            <a:off x="6357938" y="2746375"/>
            <a:ext cx="897890" cy="297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zh-CN" altLang="en-US" sz="1500" b="1" dirty="0">
                <a:latin typeface="Arial" panose="020B0604020202020204" pitchFamily="34" charset="0"/>
                <a:ea typeface="微软雅黑" panose="020B0503020204020204" pitchFamily="34" charset="-122"/>
                <a:sym typeface="Arial" panose="020B0604020202020204" pitchFamily="34" charset="0"/>
              </a:rPr>
              <a:t>适应战略</a:t>
            </a:r>
            <a:endParaRPr lang="en-US" altLang="zh-CN" sz="1500" b="1" dirty="0">
              <a:latin typeface="Arial" panose="020B0604020202020204" pitchFamily="34" charset="0"/>
              <a:ea typeface="微软雅黑" panose="020B0503020204020204" pitchFamily="34" charset="-122"/>
              <a:sym typeface="Arial" panose="020B0604020202020204" pitchFamily="34" charset="0"/>
            </a:endParaRPr>
          </a:p>
        </p:txBody>
      </p:sp>
      <p:sp>
        <p:nvSpPr>
          <p:cNvPr id="49" name="矩形 47"/>
          <p:cNvSpPr>
            <a:spLocks noChangeArrowheads="1"/>
          </p:cNvSpPr>
          <p:nvPr/>
        </p:nvSpPr>
        <p:spPr bwMode="auto">
          <a:xfrm>
            <a:off x="6360318" y="3021410"/>
            <a:ext cx="2783682" cy="624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10000"/>
              </a:lnSpc>
              <a:spcBef>
                <a:spcPct val="0"/>
              </a:spcBef>
              <a:buFont typeface="Arial" panose="020B0604020202020204" pitchFamily="34" charset="0"/>
              <a:buNone/>
            </a:pPr>
            <a:r>
              <a:rPr lang="zh-CN" altLang="en-US" sz="11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指企业比较自觉地使他们的行为与公共法则保持一致，更为重要的是尽力对公众的期望负责，以适应社会对企业的</a:t>
            </a:r>
            <a:r>
              <a:rPr lang="zh-CN" altLang="en-US" sz="1100" dirty="0" smtClean="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rPr>
              <a:t>要求</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0" name="组合 49"/>
          <p:cNvGrpSpPr/>
          <p:nvPr/>
        </p:nvGrpSpPr>
        <p:grpSpPr>
          <a:xfrm>
            <a:off x="771815" y="1439919"/>
            <a:ext cx="2497422" cy="2497422"/>
            <a:chOff x="-112105" y="2839261"/>
            <a:chExt cx="2497422" cy="2497422"/>
          </a:xfrm>
        </p:grpSpPr>
        <p:grpSp>
          <p:nvGrpSpPr>
            <p:cNvPr id="51" name="组合 50"/>
            <p:cNvGrpSpPr/>
            <p:nvPr/>
          </p:nvGrpSpPr>
          <p:grpSpPr>
            <a:xfrm>
              <a:off x="-112105" y="2839261"/>
              <a:ext cx="2497422" cy="2497422"/>
              <a:chOff x="304800" y="673100"/>
              <a:chExt cx="4000500" cy="4000500"/>
            </a:xfrm>
            <a:effectLst>
              <a:outerShdw blurRad="444500" dist="254000" dir="8100000" algn="tr" rotWithShape="0">
                <a:prstClr val="black">
                  <a:alpha val="50000"/>
                </a:prstClr>
              </a:outerShdw>
            </a:effectLst>
          </p:grpSpPr>
          <p:sp>
            <p:nvSpPr>
              <p:cNvPr id="53" name="同心圆 52"/>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54" name="椭圆 53"/>
              <p:cNvSpPr/>
              <p:nvPr/>
            </p:nvSpPr>
            <p:spPr>
              <a:xfrm>
                <a:off x="392112" y="760412"/>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52" name="椭圆 81"/>
            <p:cNvSpPr>
              <a:spLocks noChangeArrowheads="1"/>
            </p:cNvSpPr>
            <p:nvPr/>
          </p:nvSpPr>
          <p:spPr bwMode="auto">
            <a:xfrm>
              <a:off x="75318" y="3038785"/>
              <a:ext cx="2104717" cy="2104715"/>
            </a:xfrm>
            <a:prstGeom prst="ellipse">
              <a:avLst/>
            </a:prstGeom>
            <a:blipFill dpi="0" rotWithShape="1">
              <a:blip r:embed="rId7" cstate="print"/>
              <a:srcRect/>
              <a:stretch>
                <a:fillRect/>
              </a:stretch>
            </a:blipFill>
            <a:ln>
              <a:noFill/>
            </a:ln>
            <a:effectLst>
              <a:innerShdw blurRad="63500" dist="50800" dir="18900000">
                <a:prstClr val="black">
                  <a:alpha val="50000"/>
                </a:prstClr>
              </a:innerShdw>
            </a:effectLst>
            <a:extLst>
              <a:ext uri="{91240B29-F687-4F45-9708-019B960494DF}">
                <a14:hiddenLine xmlns:a14="http://schemas.microsoft.com/office/drawing/2010/main" w="12700">
                  <a:solidFill>
                    <a:srgbClr val="42719B"/>
                  </a:solidFill>
                  <a:bevel/>
                </a14:hiddenLine>
              </a:ext>
            </a:extLst>
          </p:spPr>
          <p:txBody>
            <a:bodyPr anchor="ct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endParaRPr lang="zh-CN" altLang="zh-CN" sz="14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5" name="椭圆 54"/>
          <p:cNvSpPr/>
          <p:nvPr/>
        </p:nvSpPr>
        <p:spPr>
          <a:xfrm>
            <a:off x="2865855" y="1263609"/>
            <a:ext cx="345998" cy="345998"/>
          </a:xfrm>
          <a:prstGeom prst="ellipse">
            <a:avLst/>
          </a:prstGeom>
          <a:solidFill>
            <a:srgbClr val="0067B0"/>
          </a:solidFill>
          <a:ln>
            <a:noFill/>
          </a:ln>
          <a:effectLst>
            <a:outerShdw blurRad="254000" dist="127000" dir="8100000" algn="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56" name="椭圆 55"/>
          <p:cNvSpPr/>
          <p:nvPr/>
        </p:nvSpPr>
        <p:spPr>
          <a:xfrm>
            <a:off x="3453287" y="2074307"/>
            <a:ext cx="345998" cy="345998"/>
          </a:xfrm>
          <a:prstGeom prst="ellipse">
            <a:avLst/>
          </a:prstGeom>
          <a:solidFill>
            <a:srgbClr val="0067B0"/>
          </a:solidFill>
          <a:ln>
            <a:noFill/>
          </a:ln>
          <a:effectLst>
            <a:outerShdw blurRad="254000" dist="127000" dir="8100000" algn="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57" name="椭圆 56"/>
          <p:cNvSpPr/>
          <p:nvPr/>
        </p:nvSpPr>
        <p:spPr>
          <a:xfrm>
            <a:off x="3443762" y="2999274"/>
            <a:ext cx="345998" cy="345998"/>
          </a:xfrm>
          <a:prstGeom prst="ellipse">
            <a:avLst/>
          </a:prstGeom>
          <a:solidFill>
            <a:srgbClr val="0067B0"/>
          </a:solidFill>
          <a:ln>
            <a:noFill/>
          </a:ln>
          <a:effectLst>
            <a:outerShdw blurRad="254000" dist="127000" dir="8100000" algn="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58" name="椭圆 57"/>
          <p:cNvSpPr/>
          <p:nvPr/>
        </p:nvSpPr>
        <p:spPr>
          <a:xfrm>
            <a:off x="2836900" y="3824127"/>
            <a:ext cx="345998" cy="345998"/>
          </a:xfrm>
          <a:prstGeom prst="ellipse">
            <a:avLst/>
          </a:prstGeom>
          <a:solidFill>
            <a:srgbClr val="0067B0"/>
          </a:solidFill>
          <a:ln>
            <a:noFill/>
          </a:ln>
          <a:effectLst>
            <a:outerShdw blurRad="254000" dist="127000" dir="8100000" algn="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nvGrpSpPr>
          <p:cNvPr id="59" name="组合 58"/>
          <p:cNvGrpSpPr/>
          <p:nvPr/>
        </p:nvGrpSpPr>
        <p:grpSpPr>
          <a:xfrm>
            <a:off x="4159471" y="1091406"/>
            <a:ext cx="674791" cy="674791"/>
            <a:chOff x="4144744" y="632511"/>
            <a:chExt cx="674791" cy="674791"/>
          </a:xfrm>
        </p:grpSpPr>
        <p:grpSp>
          <p:nvGrpSpPr>
            <p:cNvPr id="60" name="组合 59"/>
            <p:cNvGrpSpPr/>
            <p:nvPr/>
          </p:nvGrpSpPr>
          <p:grpSpPr>
            <a:xfrm>
              <a:off x="4144744" y="632511"/>
              <a:ext cx="674791" cy="674791"/>
              <a:chOff x="304800" y="673100"/>
              <a:chExt cx="4000500" cy="4000500"/>
            </a:xfrm>
            <a:effectLst>
              <a:outerShdw blurRad="444500" dist="254000" dir="8100000" algn="tr" rotWithShape="0">
                <a:prstClr val="black">
                  <a:alpha val="50000"/>
                </a:prstClr>
              </a:outerShdw>
            </a:effectLst>
          </p:grpSpPr>
          <p:sp>
            <p:nvSpPr>
              <p:cNvPr id="64" name="同心圆 63"/>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椭圆 64"/>
              <p:cNvSpPr/>
              <p:nvPr/>
            </p:nvSpPr>
            <p:spPr>
              <a:xfrm>
                <a:off x="392112" y="760412"/>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1" name="组合 54"/>
            <p:cNvGrpSpPr/>
            <p:nvPr/>
          </p:nvGrpSpPr>
          <p:grpSpPr bwMode="auto">
            <a:xfrm>
              <a:off x="4291856" y="741324"/>
              <a:ext cx="380564" cy="457163"/>
              <a:chOff x="0" y="0"/>
              <a:chExt cx="239649" cy="288000"/>
            </a:xfrm>
            <a:solidFill>
              <a:srgbClr val="C00000"/>
            </a:solidFill>
          </p:grpSpPr>
          <p:sp>
            <p:nvSpPr>
              <p:cNvPr id="62" name="Freeform 846"/>
              <p:cNvSpPr>
                <a:spLocks noChangeArrowheads="1"/>
              </p:cNvSpPr>
              <p:nvPr/>
            </p:nvSpPr>
            <p:spPr bwMode="auto">
              <a:xfrm>
                <a:off x="0" y="54657"/>
                <a:ext cx="239649" cy="233343"/>
              </a:xfrm>
              <a:custGeom>
                <a:avLst/>
                <a:gdLst>
                  <a:gd name="T0" fmla="*/ 722881238 w 48"/>
                  <a:gd name="T1" fmla="*/ 0 h 47"/>
                  <a:gd name="T2" fmla="*/ 722881238 w 48"/>
                  <a:gd name="T3" fmla="*/ 172539772 h 47"/>
                  <a:gd name="T4" fmla="*/ 1022003131 w 48"/>
                  <a:gd name="T5" fmla="*/ 566919230 h 47"/>
                  <a:gd name="T6" fmla="*/ 598248780 w 48"/>
                  <a:gd name="T7" fmla="*/ 1010598604 h 47"/>
                  <a:gd name="T8" fmla="*/ 149560947 w 48"/>
                  <a:gd name="T9" fmla="*/ 566919230 h 47"/>
                  <a:gd name="T10" fmla="*/ 448682840 w 48"/>
                  <a:gd name="T11" fmla="*/ 172539772 h 47"/>
                  <a:gd name="T12" fmla="*/ 448682840 w 48"/>
                  <a:gd name="T13" fmla="*/ 0 h 47"/>
                  <a:gd name="T14" fmla="*/ 0 w 48"/>
                  <a:gd name="T15" fmla="*/ 566919230 h 47"/>
                  <a:gd name="T16" fmla="*/ 598248780 w 48"/>
                  <a:gd name="T17" fmla="*/ 1158488418 h 47"/>
                  <a:gd name="T18" fmla="*/ 1196492567 w 48"/>
                  <a:gd name="T19" fmla="*/ 566919230 h 47"/>
                  <a:gd name="T20" fmla="*/ 722881238 w 48"/>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7"/>
                  <a:gd name="T35" fmla="*/ 48 w 48"/>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7">
                    <a:moveTo>
                      <a:pt x="29" y="0"/>
                    </a:moveTo>
                    <a:cubicBezTo>
                      <a:pt x="29" y="7"/>
                      <a:pt x="29" y="7"/>
                      <a:pt x="29" y="7"/>
                    </a:cubicBezTo>
                    <a:cubicBezTo>
                      <a:pt x="36" y="9"/>
                      <a:pt x="41" y="16"/>
                      <a:pt x="41" y="23"/>
                    </a:cubicBezTo>
                    <a:cubicBezTo>
                      <a:pt x="41" y="33"/>
                      <a:pt x="33" y="41"/>
                      <a:pt x="24" y="41"/>
                    </a:cubicBezTo>
                    <a:cubicBezTo>
                      <a:pt x="14" y="41"/>
                      <a:pt x="6" y="33"/>
                      <a:pt x="6" y="23"/>
                    </a:cubicBezTo>
                    <a:cubicBezTo>
                      <a:pt x="6" y="16"/>
                      <a:pt x="11" y="9"/>
                      <a:pt x="18" y="7"/>
                    </a:cubicBezTo>
                    <a:cubicBezTo>
                      <a:pt x="18" y="0"/>
                      <a:pt x="18" y="0"/>
                      <a:pt x="18" y="0"/>
                    </a:cubicBezTo>
                    <a:cubicBezTo>
                      <a:pt x="7" y="2"/>
                      <a:pt x="0" y="12"/>
                      <a:pt x="0" y="23"/>
                    </a:cubicBezTo>
                    <a:cubicBezTo>
                      <a:pt x="0" y="37"/>
                      <a:pt x="10" y="47"/>
                      <a:pt x="24" y="47"/>
                    </a:cubicBezTo>
                    <a:cubicBezTo>
                      <a:pt x="37" y="47"/>
                      <a:pt x="48" y="37"/>
                      <a:pt x="48" y="23"/>
                    </a:cubicBezTo>
                    <a:cubicBezTo>
                      <a:pt x="48" y="12"/>
                      <a:pt x="40" y="2"/>
                      <a:pt x="29" y="0"/>
                    </a:cubicBezTo>
                    <a:close/>
                  </a:path>
                </a:pathLst>
              </a:custGeom>
              <a:solidFill>
                <a:srgbClr val="03A9F3"/>
              </a:solidFill>
              <a:ln>
                <a:noFill/>
              </a:ln>
              <a:extLst>
                <a:ext uri="{91240B29-F687-4F45-9708-019B960494DF}">
                  <a14:hiddenLine xmlns:a14="http://schemas.microsoft.com/office/drawing/2010/main" w="9525">
                    <a:solidFill>
                      <a:srgbClr val="000000"/>
                    </a:solidFill>
                    <a:bevel/>
                  </a14:hiddenLine>
                </a:ext>
              </a:extLst>
            </p:spPr>
            <p:txBody>
              <a:bodyPr lIns="121920" tIns="60960" rIns="121920" bIns="60960"/>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63" name="Freeform 847"/>
              <p:cNvSpPr>
                <a:spLocks noChangeArrowheads="1"/>
              </p:cNvSpPr>
              <p:nvPr/>
            </p:nvSpPr>
            <p:spPr bwMode="auto">
              <a:xfrm>
                <a:off x="94599" y="0"/>
                <a:ext cx="44147" cy="138744"/>
              </a:xfrm>
              <a:custGeom>
                <a:avLst/>
                <a:gdLst>
                  <a:gd name="T0" fmla="*/ 168430615 w 9"/>
                  <a:gd name="T1" fmla="*/ 0 h 28"/>
                  <a:gd name="T2" fmla="*/ 48120230 w 9"/>
                  <a:gd name="T3" fmla="*/ 0 h 28"/>
                  <a:gd name="T4" fmla="*/ 0 w 9"/>
                  <a:gd name="T5" fmla="*/ 49105466 h 28"/>
                  <a:gd name="T6" fmla="*/ 0 w 9"/>
                  <a:gd name="T7" fmla="*/ 245532284 h 28"/>
                  <a:gd name="T8" fmla="*/ 0 w 9"/>
                  <a:gd name="T9" fmla="*/ 392853636 h 28"/>
                  <a:gd name="T10" fmla="*/ 0 w 9"/>
                  <a:gd name="T11" fmla="*/ 638390875 h 28"/>
                  <a:gd name="T12" fmla="*/ 48120230 w 9"/>
                  <a:gd name="T13" fmla="*/ 687496341 h 28"/>
                  <a:gd name="T14" fmla="*/ 168430615 w 9"/>
                  <a:gd name="T15" fmla="*/ 687496341 h 28"/>
                  <a:gd name="T16" fmla="*/ 216550845 w 9"/>
                  <a:gd name="T17" fmla="*/ 638390875 h 28"/>
                  <a:gd name="T18" fmla="*/ 216550845 w 9"/>
                  <a:gd name="T19" fmla="*/ 392853636 h 28"/>
                  <a:gd name="T20" fmla="*/ 216550845 w 9"/>
                  <a:gd name="T21" fmla="*/ 245532284 h 28"/>
                  <a:gd name="T22" fmla="*/ 216550845 w 9"/>
                  <a:gd name="T23" fmla="*/ 49105466 h 28"/>
                  <a:gd name="T24" fmla="*/ 168430615 w 9"/>
                  <a:gd name="T25" fmla="*/ 0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28"/>
                  <a:gd name="T41" fmla="*/ 9 w 9"/>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28">
                    <a:moveTo>
                      <a:pt x="7" y="0"/>
                    </a:moveTo>
                    <a:cubicBezTo>
                      <a:pt x="2" y="0"/>
                      <a:pt x="2" y="0"/>
                      <a:pt x="2" y="0"/>
                    </a:cubicBezTo>
                    <a:cubicBezTo>
                      <a:pt x="1" y="0"/>
                      <a:pt x="0" y="1"/>
                      <a:pt x="0" y="2"/>
                    </a:cubicBezTo>
                    <a:cubicBezTo>
                      <a:pt x="0" y="10"/>
                      <a:pt x="0" y="10"/>
                      <a:pt x="0" y="10"/>
                    </a:cubicBezTo>
                    <a:cubicBezTo>
                      <a:pt x="0" y="16"/>
                      <a:pt x="0" y="16"/>
                      <a:pt x="0" y="16"/>
                    </a:cubicBezTo>
                    <a:cubicBezTo>
                      <a:pt x="0" y="26"/>
                      <a:pt x="0" y="26"/>
                      <a:pt x="0" y="26"/>
                    </a:cubicBezTo>
                    <a:cubicBezTo>
                      <a:pt x="0" y="27"/>
                      <a:pt x="1" y="28"/>
                      <a:pt x="2" y="28"/>
                    </a:cubicBezTo>
                    <a:cubicBezTo>
                      <a:pt x="7" y="28"/>
                      <a:pt x="7" y="28"/>
                      <a:pt x="7" y="28"/>
                    </a:cubicBezTo>
                    <a:cubicBezTo>
                      <a:pt x="8" y="28"/>
                      <a:pt x="9" y="27"/>
                      <a:pt x="9" y="26"/>
                    </a:cubicBezTo>
                    <a:cubicBezTo>
                      <a:pt x="9" y="16"/>
                      <a:pt x="9" y="16"/>
                      <a:pt x="9" y="16"/>
                    </a:cubicBezTo>
                    <a:cubicBezTo>
                      <a:pt x="9" y="10"/>
                      <a:pt x="9" y="10"/>
                      <a:pt x="9" y="10"/>
                    </a:cubicBezTo>
                    <a:cubicBezTo>
                      <a:pt x="9" y="2"/>
                      <a:pt x="9" y="2"/>
                      <a:pt x="9" y="2"/>
                    </a:cubicBezTo>
                    <a:cubicBezTo>
                      <a:pt x="9" y="1"/>
                      <a:pt x="8" y="0"/>
                      <a:pt x="7" y="0"/>
                    </a:cubicBezTo>
                    <a:close/>
                  </a:path>
                </a:pathLst>
              </a:custGeom>
              <a:solidFill>
                <a:srgbClr val="03A9F3"/>
              </a:solidFill>
              <a:ln>
                <a:noFill/>
              </a:ln>
              <a:extLst>
                <a:ext uri="{91240B29-F687-4F45-9708-019B960494DF}">
                  <a14:hiddenLine xmlns:a14="http://schemas.microsoft.com/office/drawing/2010/main" w="9525">
                    <a:solidFill>
                      <a:srgbClr val="000000"/>
                    </a:solidFill>
                    <a:bevel/>
                  </a14:hiddenLine>
                </a:ext>
              </a:extLst>
            </p:spPr>
            <p:txBody>
              <a:bodyPr lIns="121920" tIns="60960" rIns="121920" bIns="60960"/>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grpSp>
      <p:grpSp>
        <p:nvGrpSpPr>
          <p:cNvPr id="66" name="组合 65"/>
          <p:cNvGrpSpPr/>
          <p:nvPr/>
        </p:nvGrpSpPr>
        <p:grpSpPr>
          <a:xfrm>
            <a:off x="5498391" y="1872009"/>
            <a:ext cx="674791" cy="674791"/>
            <a:chOff x="5433376" y="607668"/>
            <a:chExt cx="674791" cy="674791"/>
          </a:xfrm>
        </p:grpSpPr>
        <p:grpSp>
          <p:nvGrpSpPr>
            <p:cNvPr id="67" name="组合 66"/>
            <p:cNvGrpSpPr/>
            <p:nvPr/>
          </p:nvGrpSpPr>
          <p:grpSpPr>
            <a:xfrm>
              <a:off x="5433376" y="607668"/>
              <a:ext cx="674791" cy="674791"/>
              <a:chOff x="304800" y="673100"/>
              <a:chExt cx="4000500" cy="4000500"/>
            </a:xfrm>
            <a:effectLst>
              <a:outerShdw blurRad="444500" dist="254000" dir="8100000" algn="tr" rotWithShape="0">
                <a:prstClr val="black">
                  <a:alpha val="50000"/>
                </a:prstClr>
              </a:outerShdw>
            </a:effectLst>
          </p:grpSpPr>
          <p:sp>
            <p:nvSpPr>
              <p:cNvPr id="69" name="同心圆 68"/>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椭圆 69"/>
              <p:cNvSpPr/>
              <p:nvPr/>
            </p:nvSpPr>
            <p:spPr>
              <a:xfrm>
                <a:off x="392112" y="760412"/>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68" name="Freeform 168"/>
            <p:cNvSpPr>
              <a:spLocks noChangeAspect="1" noEditPoints="1" noChangeArrowheads="1"/>
            </p:cNvSpPr>
            <p:nvPr/>
          </p:nvSpPr>
          <p:spPr bwMode="auto">
            <a:xfrm>
              <a:off x="5562519" y="781790"/>
              <a:ext cx="381357" cy="326545"/>
            </a:xfrm>
            <a:custGeom>
              <a:avLst/>
              <a:gdLst>
                <a:gd name="T0" fmla="*/ 96767825 w 94"/>
                <a:gd name="T1" fmla="*/ 454124000 h 81"/>
                <a:gd name="T2" fmla="*/ 1112844741 w 94"/>
                <a:gd name="T3" fmla="*/ 454124000 h 81"/>
                <a:gd name="T4" fmla="*/ 1209612566 w 94"/>
                <a:gd name="T5" fmla="*/ 382418667 h 81"/>
                <a:gd name="T6" fmla="*/ 1766034936 w 94"/>
                <a:gd name="T7" fmla="*/ 0 h 81"/>
                <a:gd name="T8" fmla="*/ 1766034936 w 94"/>
                <a:gd name="T9" fmla="*/ 788739111 h 81"/>
                <a:gd name="T10" fmla="*/ 1766034936 w 94"/>
                <a:gd name="T11" fmla="*/ 1577483111 h 81"/>
                <a:gd name="T12" fmla="*/ 1209612566 w 94"/>
                <a:gd name="T13" fmla="*/ 1171162667 h 81"/>
                <a:gd name="T14" fmla="*/ 1112844741 w 94"/>
                <a:gd name="T15" fmla="*/ 1123359111 h 81"/>
                <a:gd name="T16" fmla="*/ 798346851 w 94"/>
                <a:gd name="T17" fmla="*/ 1123359111 h 81"/>
                <a:gd name="T18" fmla="*/ 967693004 w 94"/>
                <a:gd name="T19" fmla="*/ 1673085333 h 81"/>
                <a:gd name="T20" fmla="*/ 1088650325 w 94"/>
                <a:gd name="T21" fmla="*/ 1673085333 h 81"/>
                <a:gd name="T22" fmla="*/ 1088650325 w 94"/>
                <a:gd name="T23" fmla="*/ 1936000000 h 81"/>
                <a:gd name="T24" fmla="*/ 1040266413 w 94"/>
                <a:gd name="T25" fmla="*/ 1936000000 h 81"/>
                <a:gd name="T26" fmla="*/ 508038458 w 94"/>
                <a:gd name="T27" fmla="*/ 1936000000 h 81"/>
                <a:gd name="T28" fmla="*/ 266113977 w 94"/>
                <a:gd name="T29" fmla="*/ 1123359111 h 81"/>
                <a:gd name="T30" fmla="*/ 96767825 w 94"/>
                <a:gd name="T31" fmla="*/ 1123359111 h 81"/>
                <a:gd name="T32" fmla="*/ 96767825 w 94"/>
                <a:gd name="T33" fmla="*/ 454124000 h 81"/>
                <a:gd name="T34" fmla="*/ 2104727241 w 94"/>
                <a:gd name="T35" fmla="*/ 549726222 h 81"/>
                <a:gd name="T36" fmla="*/ 2147483647 w 94"/>
                <a:gd name="T37" fmla="*/ 788739111 h 81"/>
                <a:gd name="T38" fmla="*/ 2104727241 w 94"/>
                <a:gd name="T39" fmla="*/ 1027752000 h 81"/>
                <a:gd name="T40" fmla="*/ 2104727241 w 94"/>
                <a:gd name="T41" fmla="*/ 1577483111 h 81"/>
                <a:gd name="T42" fmla="*/ 1886997176 w 94"/>
                <a:gd name="T43" fmla="*/ 1577483111 h 81"/>
                <a:gd name="T44" fmla="*/ 1886997176 w 94"/>
                <a:gd name="T45" fmla="*/ 0 h 81"/>
                <a:gd name="T46" fmla="*/ 2104727241 w 94"/>
                <a:gd name="T47" fmla="*/ 0 h 81"/>
                <a:gd name="T48" fmla="*/ 2104727241 w 94"/>
                <a:gd name="T49" fmla="*/ 549726222 h 81"/>
                <a:gd name="T50" fmla="*/ 1112844741 w 94"/>
                <a:gd name="T51" fmla="*/ 1171162667 h 81"/>
                <a:gd name="T52" fmla="*/ 895114676 w 94"/>
                <a:gd name="T53" fmla="*/ 1171162667 h 81"/>
                <a:gd name="T54" fmla="*/ 967693004 w 94"/>
                <a:gd name="T55" fmla="*/ 1457974222 h 81"/>
                <a:gd name="T56" fmla="*/ 1040266413 w 94"/>
                <a:gd name="T57" fmla="*/ 1457974222 h 81"/>
                <a:gd name="T58" fmla="*/ 1040266413 w 94"/>
                <a:gd name="T59" fmla="*/ 1362372000 h 81"/>
                <a:gd name="T60" fmla="*/ 1112844741 w 94"/>
                <a:gd name="T61" fmla="*/ 1171162667 h 8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4"/>
                <a:gd name="T94" fmla="*/ 0 h 81"/>
                <a:gd name="T95" fmla="*/ 94 w 94"/>
                <a:gd name="T96" fmla="*/ 81 h 8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4" h="81">
                  <a:moveTo>
                    <a:pt x="4" y="19"/>
                  </a:moveTo>
                  <a:cubicBezTo>
                    <a:pt x="46" y="19"/>
                    <a:pt x="46" y="19"/>
                    <a:pt x="46" y="19"/>
                  </a:cubicBezTo>
                  <a:cubicBezTo>
                    <a:pt x="50" y="16"/>
                    <a:pt x="50" y="16"/>
                    <a:pt x="50" y="16"/>
                  </a:cubicBezTo>
                  <a:cubicBezTo>
                    <a:pt x="73" y="0"/>
                    <a:pt x="73" y="0"/>
                    <a:pt x="73" y="0"/>
                  </a:cubicBezTo>
                  <a:cubicBezTo>
                    <a:pt x="73" y="33"/>
                    <a:pt x="73" y="33"/>
                    <a:pt x="73" y="33"/>
                  </a:cubicBezTo>
                  <a:cubicBezTo>
                    <a:pt x="73" y="66"/>
                    <a:pt x="73" y="66"/>
                    <a:pt x="73" y="66"/>
                  </a:cubicBezTo>
                  <a:cubicBezTo>
                    <a:pt x="50" y="49"/>
                    <a:pt x="50" y="49"/>
                    <a:pt x="50" y="49"/>
                  </a:cubicBezTo>
                  <a:cubicBezTo>
                    <a:pt x="46" y="47"/>
                    <a:pt x="46" y="47"/>
                    <a:pt x="46" y="47"/>
                  </a:cubicBezTo>
                  <a:cubicBezTo>
                    <a:pt x="33" y="47"/>
                    <a:pt x="33" y="47"/>
                    <a:pt x="33" y="47"/>
                  </a:cubicBezTo>
                  <a:cubicBezTo>
                    <a:pt x="40" y="70"/>
                    <a:pt x="40" y="70"/>
                    <a:pt x="40" y="70"/>
                  </a:cubicBezTo>
                  <a:cubicBezTo>
                    <a:pt x="45" y="70"/>
                    <a:pt x="45" y="70"/>
                    <a:pt x="45" y="70"/>
                  </a:cubicBezTo>
                  <a:cubicBezTo>
                    <a:pt x="45" y="81"/>
                    <a:pt x="45" y="81"/>
                    <a:pt x="45" y="81"/>
                  </a:cubicBezTo>
                  <a:cubicBezTo>
                    <a:pt x="43" y="81"/>
                    <a:pt x="43" y="81"/>
                    <a:pt x="43" y="81"/>
                  </a:cubicBezTo>
                  <a:cubicBezTo>
                    <a:pt x="21" y="81"/>
                    <a:pt x="21" y="81"/>
                    <a:pt x="21" y="81"/>
                  </a:cubicBezTo>
                  <a:cubicBezTo>
                    <a:pt x="11" y="47"/>
                    <a:pt x="11" y="47"/>
                    <a:pt x="11" y="47"/>
                  </a:cubicBezTo>
                  <a:cubicBezTo>
                    <a:pt x="4" y="47"/>
                    <a:pt x="4" y="47"/>
                    <a:pt x="4" y="47"/>
                  </a:cubicBezTo>
                  <a:cubicBezTo>
                    <a:pt x="0" y="37"/>
                    <a:pt x="0" y="28"/>
                    <a:pt x="4" y="19"/>
                  </a:cubicBezTo>
                  <a:close/>
                  <a:moveTo>
                    <a:pt x="87" y="23"/>
                  </a:moveTo>
                  <a:cubicBezTo>
                    <a:pt x="91" y="24"/>
                    <a:pt x="94" y="28"/>
                    <a:pt x="94" y="33"/>
                  </a:cubicBezTo>
                  <a:cubicBezTo>
                    <a:pt x="94" y="38"/>
                    <a:pt x="91" y="42"/>
                    <a:pt x="87" y="43"/>
                  </a:cubicBezTo>
                  <a:cubicBezTo>
                    <a:pt x="87" y="66"/>
                    <a:pt x="87" y="66"/>
                    <a:pt x="87" y="66"/>
                  </a:cubicBezTo>
                  <a:cubicBezTo>
                    <a:pt x="78" y="66"/>
                    <a:pt x="78" y="66"/>
                    <a:pt x="78" y="66"/>
                  </a:cubicBezTo>
                  <a:cubicBezTo>
                    <a:pt x="78" y="0"/>
                    <a:pt x="78" y="0"/>
                    <a:pt x="78" y="0"/>
                  </a:cubicBezTo>
                  <a:cubicBezTo>
                    <a:pt x="87" y="0"/>
                    <a:pt x="87" y="0"/>
                    <a:pt x="87" y="0"/>
                  </a:cubicBezTo>
                  <a:cubicBezTo>
                    <a:pt x="87" y="23"/>
                    <a:pt x="87" y="23"/>
                    <a:pt x="87" y="23"/>
                  </a:cubicBezTo>
                  <a:close/>
                  <a:moveTo>
                    <a:pt x="46" y="49"/>
                  </a:moveTo>
                  <a:cubicBezTo>
                    <a:pt x="37" y="49"/>
                    <a:pt x="37" y="49"/>
                    <a:pt x="37" y="49"/>
                  </a:cubicBezTo>
                  <a:cubicBezTo>
                    <a:pt x="40" y="61"/>
                    <a:pt x="40" y="61"/>
                    <a:pt x="40" y="61"/>
                  </a:cubicBezTo>
                  <a:cubicBezTo>
                    <a:pt x="43" y="61"/>
                    <a:pt x="43" y="61"/>
                    <a:pt x="43" y="61"/>
                  </a:cubicBezTo>
                  <a:cubicBezTo>
                    <a:pt x="43" y="57"/>
                    <a:pt x="43" y="57"/>
                    <a:pt x="43" y="57"/>
                  </a:cubicBezTo>
                  <a:lnTo>
                    <a:pt x="46" y="49"/>
                  </a:lnTo>
                  <a:close/>
                </a:path>
              </a:pathLst>
            </a:custGeom>
            <a:solidFill>
              <a:srgbClr val="03A9F3"/>
            </a:solidFill>
            <a:ln>
              <a:noFill/>
            </a:ln>
          </p:spPr>
          <p:txBody>
            <a:bodyPr lIns="121920" tIns="60960" rIns="121920" bIns="60960"/>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1" name="组合 70"/>
          <p:cNvGrpSpPr/>
          <p:nvPr/>
        </p:nvGrpSpPr>
        <p:grpSpPr>
          <a:xfrm>
            <a:off x="5529182" y="2834877"/>
            <a:ext cx="674791" cy="674791"/>
            <a:chOff x="6312694" y="592940"/>
            <a:chExt cx="674791" cy="674791"/>
          </a:xfrm>
        </p:grpSpPr>
        <p:grpSp>
          <p:nvGrpSpPr>
            <p:cNvPr id="72" name="组合 71"/>
            <p:cNvGrpSpPr/>
            <p:nvPr/>
          </p:nvGrpSpPr>
          <p:grpSpPr>
            <a:xfrm>
              <a:off x="6312694" y="592940"/>
              <a:ext cx="674791" cy="674791"/>
              <a:chOff x="304800" y="673100"/>
              <a:chExt cx="4000500" cy="4000500"/>
            </a:xfrm>
            <a:effectLst>
              <a:outerShdw blurRad="444500" dist="254000" dir="8100000" algn="tr" rotWithShape="0">
                <a:prstClr val="black">
                  <a:alpha val="50000"/>
                </a:prstClr>
              </a:outerShdw>
            </a:effectLst>
          </p:grpSpPr>
          <p:sp>
            <p:nvSpPr>
              <p:cNvPr id="74" name="同心圆 73"/>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79" name="椭圆 78"/>
              <p:cNvSpPr/>
              <p:nvPr/>
            </p:nvSpPr>
            <p:spPr>
              <a:xfrm>
                <a:off x="392112" y="760412"/>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73" name="Freeform 203"/>
            <p:cNvSpPr>
              <a:spLocks noChangeAspect="1" noEditPoints="1" noChangeArrowheads="1"/>
            </p:cNvSpPr>
            <p:nvPr/>
          </p:nvSpPr>
          <p:spPr bwMode="auto">
            <a:xfrm>
              <a:off x="6456630" y="753802"/>
              <a:ext cx="374788" cy="359200"/>
            </a:xfrm>
            <a:custGeom>
              <a:avLst/>
              <a:gdLst>
                <a:gd name="T0" fmla="*/ 315922254 w 218"/>
                <a:gd name="T1" fmla="*/ 154371789 h 209"/>
                <a:gd name="T2" fmla="*/ 129239802 w 218"/>
                <a:gd name="T3" fmla="*/ 154371789 h 209"/>
                <a:gd name="T4" fmla="*/ 93340278 w 218"/>
                <a:gd name="T5" fmla="*/ 204631579 h 209"/>
                <a:gd name="T6" fmla="*/ 129239802 w 218"/>
                <a:gd name="T7" fmla="*/ 254891368 h 209"/>
                <a:gd name="T8" fmla="*/ 315922254 w 218"/>
                <a:gd name="T9" fmla="*/ 254891368 h 209"/>
                <a:gd name="T10" fmla="*/ 315922254 w 218"/>
                <a:gd name="T11" fmla="*/ 154371789 h 209"/>
                <a:gd name="T12" fmla="*/ 315922254 w 218"/>
                <a:gd name="T13" fmla="*/ 154371789 h 209"/>
                <a:gd name="T14" fmla="*/ 452341203 w 218"/>
                <a:gd name="T15" fmla="*/ 254891368 h 209"/>
                <a:gd name="T16" fmla="*/ 671332658 w 218"/>
                <a:gd name="T17" fmla="*/ 254891368 h 209"/>
                <a:gd name="T18" fmla="*/ 696462514 w 218"/>
                <a:gd name="T19" fmla="*/ 254891368 h 209"/>
                <a:gd name="T20" fmla="*/ 707234076 w 218"/>
                <a:gd name="T21" fmla="*/ 272842105 h 209"/>
                <a:gd name="T22" fmla="*/ 764672936 w 218"/>
                <a:gd name="T23" fmla="*/ 366182526 h 209"/>
                <a:gd name="T24" fmla="*/ 782623645 w 218"/>
                <a:gd name="T25" fmla="*/ 391312421 h 209"/>
                <a:gd name="T26" fmla="*/ 764672936 w 218"/>
                <a:gd name="T27" fmla="*/ 409263158 h 209"/>
                <a:gd name="T28" fmla="*/ 707234076 w 218"/>
                <a:gd name="T29" fmla="*/ 502603579 h 209"/>
                <a:gd name="T30" fmla="*/ 696462514 w 218"/>
                <a:gd name="T31" fmla="*/ 527733474 h 209"/>
                <a:gd name="T32" fmla="*/ 671332658 w 218"/>
                <a:gd name="T33" fmla="*/ 527733474 h 209"/>
                <a:gd name="T34" fmla="*/ 452341203 w 218"/>
                <a:gd name="T35" fmla="*/ 527733474 h 209"/>
                <a:gd name="T36" fmla="*/ 452341203 w 218"/>
                <a:gd name="T37" fmla="*/ 646205684 h 209"/>
                <a:gd name="T38" fmla="*/ 646202801 w 218"/>
                <a:gd name="T39" fmla="*/ 646205684 h 209"/>
                <a:gd name="T40" fmla="*/ 646202801 w 218"/>
                <a:gd name="T41" fmla="*/ 750315789 h 209"/>
                <a:gd name="T42" fmla="*/ 143599991 w 218"/>
                <a:gd name="T43" fmla="*/ 750315789 h 209"/>
                <a:gd name="T44" fmla="*/ 143599991 w 218"/>
                <a:gd name="T45" fmla="*/ 646205684 h 209"/>
                <a:gd name="T46" fmla="*/ 323101401 w 218"/>
                <a:gd name="T47" fmla="*/ 646205684 h 209"/>
                <a:gd name="T48" fmla="*/ 323101401 w 218"/>
                <a:gd name="T49" fmla="*/ 341052632 h 209"/>
                <a:gd name="T50" fmla="*/ 104109946 w 218"/>
                <a:gd name="T51" fmla="*/ 341052632 h 209"/>
                <a:gd name="T52" fmla="*/ 78980090 w 218"/>
                <a:gd name="T53" fmla="*/ 341052632 h 209"/>
                <a:gd name="T54" fmla="*/ 68210422 w 218"/>
                <a:gd name="T55" fmla="*/ 315922737 h 209"/>
                <a:gd name="T56" fmla="*/ 10769668 w 218"/>
                <a:gd name="T57" fmla="*/ 222582316 h 209"/>
                <a:gd name="T58" fmla="*/ 0 w 218"/>
                <a:gd name="T59" fmla="*/ 204631579 h 209"/>
                <a:gd name="T60" fmla="*/ 10769668 w 218"/>
                <a:gd name="T61" fmla="*/ 179501684 h 209"/>
                <a:gd name="T62" fmla="*/ 68210422 w 218"/>
                <a:gd name="T63" fmla="*/ 86161263 h 209"/>
                <a:gd name="T64" fmla="*/ 78980090 w 218"/>
                <a:gd name="T65" fmla="*/ 68210526 h 209"/>
                <a:gd name="T66" fmla="*/ 104109946 w 218"/>
                <a:gd name="T67" fmla="*/ 68210526 h 209"/>
                <a:gd name="T68" fmla="*/ 323101401 w 218"/>
                <a:gd name="T69" fmla="*/ 68210526 h 209"/>
                <a:gd name="T70" fmla="*/ 323101401 w 218"/>
                <a:gd name="T71" fmla="*/ 53850316 h 209"/>
                <a:gd name="T72" fmla="*/ 391311823 w 218"/>
                <a:gd name="T73" fmla="*/ 0 h 209"/>
                <a:gd name="T74" fmla="*/ 452341203 w 218"/>
                <a:gd name="T75" fmla="*/ 53850316 h 209"/>
                <a:gd name="T76" fmla="*/ 452341203 w 218"/>
                <a:gd name="T77" fmla="*/ 254891368 h 209"/>
                <a:gd name="T78" fmla="*/ 452341203 w 218"/>
                <a:gd name="T79" fmla="*/ 254891368 h 209"/>
                <a:gd name="T80" fmla="*/ 653383843 w 218"/>
                <a:gd name="T81" fmla="*/ 333873474 h 209"/>
                <a:gd name="T82" fmla="*/ 459522245 w 218"/>
                <a:gd name="T83" fmla="*/ 333873474 h 209"/>
                <a:gd name="T84" fmla="*/ 459522245 w 218"/>
                <a:gd name="T85" fmla="*/ 441574105 h 209"/>
                <a:gd name="T86" fmla="*/ 653383843 w 218"/>
                <a:gd name="T87" fmla="*/ 441574105 h 209"/>
                <a:gd name="T88" fmla="*/ 689283367 w 218"/>
                <a:gd name="T89" fmla="*/ 391312421 h 209"/>
                <a:gd name="T90" fmla="*/ 653383843 w 218"/>
                <a:gd name="T91" fmla="*/ 333873474 h 20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8"/>
                <a:gd name="T139" fmla="*/ 0 h 209"/>
                <a:gd name="T140" fmla="*/ 218 w 218"/>
                <a:gd name="T141" fmla="*/ 209 h 20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8" h="209">
                  <a:moveTo>
                    <a:pt x="88" y="43"/>
                  </a:moveTo>
                  <a:lnTo>
                    <a:pt x="36" y="43"/>
                  </a:lnTo>
                  <a:lnTo>
                    <a:pt x="26" y="57"/>
                  </a:lnTo>
                  <a:lnTo>
                    <a:pt x="36" y="71"/>
                  </a:lnTo>
                  <a:lnTo>
                    <a:pt x="88" y="71"/>
                  </a:lnTo>
                  <a:lnTo>
                    <a:pt x="88" y="43"/>
                  </a:lnTo>
                  <a:close/>
                  <a:moveTo>
                    <a:pt x="126" y="71"/>
                  </a:moveTo>
                  <a:lnTo>
                    <a:pt x="187" y="71"/>
                  </a:lnTo>
                  <a:lnTo>
                    <a:pt x="194" y="71"/>
                  </a:lnTo>
                  <a:lnTo>
                    <a:pt x="197" y="76"/>
                  </a:lnTo>
                  <a:lnTo>
                    <a:pt x="213" y="102"/>
                  </a:lnTo>
                  <a:lnTo>
                    <a:pt x="218" y="109"/>
                  </a:lnTo>
                  <a:lnTo>
                    <a:pt x="213" y="114"/>
                  </a:lnTo>
                  <a:lnTo>
                    <a:pt x="197" y="140"/>
                  </a:lnTo>
                  <a:lnTo>
                    <a:pt x="194" y="147"/>
                  </a:lnTo>
                  <a:lnTo>
                    <a:pt x="187" y="147"/>
                  </a:lnTo>
                  <a:lnTo>
                    <a:pt x="126" y="147"/>
                  </a:lnTo>
                  <a:lnTo>
                    <a:pt x="126" y="180"/>
                  </a:lnTo>
                  <a:lnTo>
                    <a:pt x="180" y="180"/>
                  </a:lnTo>
                  <a:lnTo>
                    <a:pt x="180" y="209"/>
                  </a:lnTo>
                  <a:lnTo>
                    <a:pt x="40" y="209"/>
                  </a:lnTo>
                  <a:lnTo>
                    <a:pt x="40" y="180"/>
                  </a:lnTo>
                  <a:lnTo>
                    <a:pt x="90" y="180"/>
                  </a:lnTo>
                  <a:lnTo>
                    <a:pt x="90" y="95"/>
                  </a:lnTo>
                  <a:lnTo>
                    <a:pt x="29" y="95"/>
                  </a:lnTo>
                  <a:lnTo>
                    <a:pt x="22" y="95"/>
                  </a:lnTo>
                  <a:lnTo>
                    <a:pt x="19" y="88"/>
                  </a:lnTo>
                  <a:lnTo>
                    <a:pt x="3" y="62"/>
                  </a:lnTo>
                  <a:lnTo>
                    <a:pt x="0" y="57"/>
                  </a:lnTo>
                  <a:lnTo>
                    <a:pt x="3" y="50"/>
                  </a:lnTo>
                  <a:lnTo>
                    <a:pt x="19" y="24"/>
                  </a:lnTo>
                  <a:lnTo>
                    <a:pt x="22" y="19"/>
                  </a:lnTo>
                  <a:lnTo>
                    <a:pt x="29" y="19"/>
                  </a:lnTo>
                  <a:lnTo>
                    <a:pt x="90" y="19"/>
                  </a:lnTo>
                  <a:lnTo>
                    <a:pt x="90" y="15"/>
                  </a:lnTo>
                  <a:lnTo>
                    <a:pt x="109" y="0"/>
                  </a:lnTo>
                  <a:lnTo>
                    <a:pt x="126" y="15"/>
                  </a:lnTo>
                  <a:lnTo>
                    <a:pt x="126" y="71"/>
                  </a:lnTo>
                  <a:close/>
                  <a:moveTo>
                    <a:pt x="182" y="93"/>
                  </a:moveTo>
                  <a:lnTo>
                    <a:pt x="128" y="93"/>
                  </a:lnTo>
                  <a:lnTo>
                    <a:pt x="128" y="123"/>
                  </a:lnTo>
                  <a:lnTo>
                    <a:pt x="182" y="123"/>
                  </a:lnTo>
                  <a:lnTo>
                    <a:pt x="192" y="109"/>
                  </a:lnTo>
                  <a:lnTo>
                    <a:pt x="182" y="93"/>
                  </a:lnTo>
                  <a:close/>
                </a:path>
              </a:pathLst>
            </a:custGeom>
            <a:solidFill>
              <a:srgbClr val="03A9F3"/>
            </a:solidFill>
            <a:ln>
              <a:noFill/>
            </a:ln>
          </p:spPr>
          <p:txBody>
            <a:bodyPr lIns="121920" tIns="60960" rIns="121920" bIns="60960"/>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0" name="组合 79"/>
          <p:cNvGrpSpPr/>
          <p:nvPr/>
        </p:nvGrpSpPr>
        <p:grpSpPr>
          <a:xfrm>
            <a:off x="4230313" y="3659732"/>
            <a:ext cx="674791" cy="674791"/>
            <a:chOff x="7074694" y="598563"/>
            <a:chExt cx="674791" cy="674791"/>
          </a:xfrm>
        </p:grpSpPr>
        <p:grpSp>
          <p:nvGrpSpPr>
            <p:cNvPr id="81" name="组合 80"/>
            <p:cNvGrpSpPr/>
            <p:nvPr/>
          </p:nvGrpSpPr>
          <p:grpSpPr>
            <a:xfrm>
              <a:off x="7074694" y="598563"/>
              <a:ext cx="674791" cy="674791"/>
              <a:chOff x="304800" y="673100"/>
              <a:chExt cx="4000500" cy="4000500"/>
            </a:xfrm>
            <a:effectLst>
              <a:outerShdw blurRad="444500" dist="254000" dir="8100000" algn="tr" rotWithShape="0">
                <a:prstClr val="black">
                  <a:alpha val="50000"/>
                </a:prstClr>
              </a:outerShdw>
            </a:effectLst>
          </p:grpSpPr>
          <p:sp>
            <p:nvSpPr>
              <p:cNvPr id="86" name="同心圆 85"/>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87" name="椭圆 86"/>
              <p:cNvSpPr/>
              <p:nvPr/>
            </p:nvSpPr>
            <p:spPr>
              <a:xfrm>
                <a:off x="392112" y="760412"/>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82" name="Freeform 110"/>
            <p:cNvSpPr>
              <a:spLocks noChangeAspect="1" noEditPoints="1" noChangeArrowheads="1"/>
            </p:cNvSpPr>
            <p:nvPr/>
          </p:nvSpPr>
          <p:spPr bwMode="auto">
            <a:xfrm>
              <a:off x="7209124" y="750436"/>
              <a:ext cx="405928" cy="359796"/>
            </a:xfrm>
            <a:custGeom>
              <a:avLst/>
              <a:gdLst>
                <a:gd name="T0" fmla="*/ 1099726970 w 100"/>
                <a:gd name="T1" fmla="*/ 81000000 h 88"/>
                <a:gd name="T2" fmla="*/ 1519621747 w 100"/>
                <a:gd name="T3" fmla="*/ 830250000 h 88"/>
                <a:gd name="T4" fmla="*/ 1519621747 w 100"/>
                <a:gd name="T5" fmla="*/ 830250000 h 88"/>
                <a:gd name="T6" fmla="*/ 1959513430 w 100"/>
                <a:gd name="T7" fmla="*/ 1599750000 h 88"/>
                <a:gd name="T8" fmla="*/ 1919524090 w 100"/>
                <a:gd name="T9" fmla="*/ 1761750000 h 88"/>
                <a:gd name="T10" fmla="*/ 1839540938 w 100"/>
                <a:gd name="T11" fmla="*/ 1782000000 h 88"/>
                <a:gd name="T12" fmla="*/ 1839540938 w 100"/>
                <a:gd name="T13" fmla="*/ 1782000000 h 88"/>
                <a:gd name="T14" fmla="*/ 979754479 w 100"/>
                <a:gd name="T15" fmla="*/ 1782000000 h 88"/>
                <a:gd name="T16" fmla="*/ 139964926 w 100"/>
                <a:gd name="T17" fmla="*/ 1782000000 h 88"/>
                <a:gd name="T18" fmla="*/ 0 w 100"/>
                <a:gd name="T19" fmla="*/ 1660500000 h 88"/>
                <a:gd name="T20" fmla="*/ 19996906 w 100"/>
                <a:gd name="T21" fmla="*/ 1579500000 h 88"/>
                <a:gd name="T22" fmla="*/ 459884117 w 100"/>
                <a:gd name="T23" fmla="*/ 830250000 h 88"/>
                <a:gd name="T24" fmla="*/ 459884117 w 100"/>
                <a:gd name="T25" fmla="*/ 830250000 h 88"/>
                <a:gd name="T26" fmla="*/ 879783365 w 100"/>
                <a:gd name="T27" fmla="*/ 81000000 h 88"/>
                <a:gd name="T28" fmla="*/ 1059737631 w 100"/>
                <a:gd name="T29" fmla="*/ 40500000 h 88"/>
                <a:gd name="T30" fmla="*/ 1099726970 w 100"/>
                <a:gd name="T31" fmla="*/ 81000000 h 88"/>
                <a:gd name="T32" fmla="*/ 879783365 w 100"/>
                <a:gd name="T33" fmla="*/ 688500000 h 88"/>
                <a:gd name="T34" fmla="*/ 879783365 w 100"/>
                <a:gd name="T35" fmla="*/ 749250000 h 88"/>
                <a:gd name="T36" fmla="*/ 919772705 w 100"/>
                <a:gd name="T37" fmla="*/ 1255500000 h 88"/>
                <a:gd name="T38" fmla="*/ 1039740725 w 100"/>
                <a:gd name="T39" fmla="*/ 1255500000 h 88"/>
                <a:gd name="T40" fmla="*/ 1079730065 w 100"/>
                <a:gd name="T41" fmla="*/ 749250000 h 88"/>
                <a:gd name="T42" fmla="*/ 1079730065 w 100"/>
                <a:gd name="T43" fmla="*/ 688500000 h 88"/>
                <a:gd name="T44" fmla="*/ 879783365 w 100"/>
                <a:gd name="T45" fmla="*/ 688500000 h 88"/>
                <a:gd name="T46" fmla="*/ 979754479 w 100"/>
                <a:gd name="T47" fmla="*/ 1458000000 h 88"/>
                <a:gd name="T48" fmla="*/ 1059737631 w 100"/>
                <a:gd name="T49" fmla="*/ 1397250000 h 88"/>
                <a:gd name="T50" fmla="*/ 979754479 w 100"/>
                <a:gd name="T51" fmla="*/ 1316250000 h 88"/>
                <a:gd name="T52" fmla="*/ 899775799 w 100"/>
                <a:gd name="T53" fmla="*/ 1397250000 h 88"/>
                <a:gd name="T54" fmla="*/ 979754479 w 100"/>
                <a:gd name="T55" fmla="*/ 1458000000 h 88"/>
                <a:gd name="T56" fmla="*/ 1299678142 w 100"/>
                <a:gd name="T57" fmla="*/ 972000000 h 88"/>
                <a:gd name="T58" fmla="*/ 979754479 w 100"/>
                <a:gd name="T59" fmla="*/ 405000000 h 88"/>
                <a:gd name="T60" fmla="*/ 679832194 w 100"/>
                <a:gd name="T61" fmla="*/ 951750000 h 88"/>
                <a:gd name="T62" fmla="*/ 659835288 w 100"/>
                <a:gd name="T63" fmla="*/ 972000000 h 88"/>
                <a:gd name="T64" fmla="*/ 339916097 w 100"/>
                <a:gd name="T65" fmla="*/ 1518750000 h 88"/>
                <a:gd name="T66" fmla="*/ 979754479 w 100"/>
                <a:gd name="T67" fmla="*/ 1518750000 h 88"/>
                <a:gd name="T68" fmla="*/ 1619597333 w 100"/>
                <a:gd name="T69" fmla="*/ 1518750000 h 88"/>
                <a:gd name="T70" fmla="*/ 1299678142 w 100"/>
                <a:gd name="T71" fmla="*/ 972000000 h 88"/>
                <a:gd name="T72" fmla="*/ 1299678142 w 100"/>
                <a:gd name="T73" fmla="*/ 972000000 h 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0"/>
                <a:gd name="T112" fmla="*/ 0 h 88"/>
                <a:gd name="T113" fmla="*/ 100 w 100"/>
                <a:gd name="T114" fmla="*/ 88 h 8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0" h="88">
                  <a:moveTo>
                    <a:pt x="55" y="4"/>
                  </a:moveTo>
                  <a:cubicBezTo>
                    <a:pt x="76" y="41"/>
                    <a:pt x="76" y="41"/>
                    <a:pt x="76" y="41"/>
                  </a:cubicBezTo>
                  <a:cubicBezTo>
                    <a:pt x="76" y="41"/>
                    <a:pt x="76" y="41"/>
                    <a:pt x="76" y="41"/>
                  </a:cubicBezTo>
                  <a:cubicBezTo>
                    <a:pt x="98" y="79"/>
                    <a:pt x="98" y="79"/>
                    <a:pt x="98" y="79"/>
                  </a:cubicBezTo>
                  <a:cubicBezTo>
                    <a:pt x="100" y="82"/>
                    <a:pt x="99" y="85"/>
                    <a:pt x="96" y="87"/>
                  </a:cubicBezTo>
                  <a:cubicBezTo>
                    <a:pt x="95" y="88"/>
                    <a:pt x="93" y="88"/>
                    <a:pt x="92" y="88"/>
                  </a:cubicBezTo>
                  <a:cubicBezTo>
                    <a:pt x="92" y="88"/>
                    <a:pt x="92" y="88"/>
                    <a:pt x="92" y="88"/>
                  </a:cubicBezTo>
                  <a:cubicBezTo>
                    <a:pt x="49" y="88"/>
                    <a:pt x="49" y="88"/>
                    <a:pt x="49" y="88"/>
                  </a:cubicBezTo>
                  <a:cubicBezTo>
                    <a:pt x="7" y="88"/>
                    <a:pt x="7" y="88"/>
                    <a:pt x="7" y="88"/>
                  </a:cubicBezTo>
                  <a:cubicBezTo>
                    <a:pt x="3" y="88"/>
                    <a:pt x="0" y="85"/>
                    <a:pt x="0" y="82"/>
                  </a:cubicBezTo>
                  <a:cubicBezTo>
                    <a:pt x="0" y="80"/>
                    <a:pt x="1" y="79"/>
                    <a:pt x="1" y="78"/>
                  </a:cubicBezTo>
                  <a:cubicBezTo>
                    <a:pt x="23" y="41"/>
                    <a:pt x="23" y="41"/>
                    <a:pt x="23" y="41"/>
                  </a:cubicBezTo>
                  <a:cubicBezTo>
                    <a:pt x="23" y="41"/>
                    <a:pt x="23" y="41"/>
                    <a:pt x="23" y="41"/>
                  </a:cubicBezTo>
                  <a:cubicBezTo>
                    <a:pt x="44" y="4"/>
                    <a:pt x="44" y="4"/>
                    <a:pt x="44" y="4"/>
                  </a:cubicBezTo>
                  <a:cubicBezTo>
                    <a:pt x="46" y="1"/>
                    <a:pt x="50" y="0"/>
                    <a:pt x="53" y="2"/>
                  </a:cubicBezTo>
                  <a:cubicBezTo>
                    <a:pt x="54" y="3"/>
                    <a:pt x="54" y="3"/>
                    <a:pt x="55" y="4"/>
                  </a:cubicBezTo>
                  <a:close/>
                  <a:moveTo>
                    <a:pt x="44" y="34"/>
                  </a:moveTo>
                  <a:cubicBezTo>
                    <a:pt x="44" y="37"/>
                    <a:pt x="44" y="37"/>
                    <a:pt x="44" y="37"/>
                  </a:cubicBezTo>
                  <a:cubicBezTo>
                    <a:pt x="46" y="62"/>
                    <a:pt x="46" y="62"/>
                    <a:pt x="46" y="62"/>
                  </a:cubicBezTo>
                  <a:cubicBezTo>
                    <a:pt x="52" y="62"/>
                    <a:pt x="52" y="62"/>
                    <a:pt x="52" y="62"/>
                  </a:cubicBezTo>
                  <a:cubicBezTo>
                    <a:pt x="54" y="37"/>
                    <a:pt x="54" y="37"/>
                    <a:pt x="54" y="37"/>
                  </a:cubicBezTo>
                  <a:cubicBezTo>
                    <a:pt x="54" y="34"/>
                    <a:pt x="54" y="34"/>
                    <a:pt x="54" y="34"/>
                  </a:cubicBezTo>
                  <a:cubicBezTo>
                    <a:pt x="44" y="34"/>
                    <a:pt x="44" y="34"/>
                    <a:pt x="44" y="34"/>
                  </a:cubicBezTo>
                  <a:close/>
                  <a:moveTo>
                    <a:pt x="49" y="72"/>
                  </a:moveTo>
                  <a:cubicBezTo>
                    <a:pt x="52" y="72"/>
                    <a:pt x="53" y="71"/>
                    <a:pt x="53" y="69"/>
                  </a:cubicBezTo>
                  <a:cubicBezTo>
                    <a:pt x="53" y="66"/>
                    <a:pt x="51" y="65"/>
                    <a:pt x="49" y="65"/>
                  </a:cubicBezTo>
                  <a:cubicBezTo>
                    <a:pt x="47" y="65"/>
                    <a:pt x="45" y="66"/>
                    <a:pt x="45" y="69"/>
                  </a:cubicBezTo>
                  <a:cubicBezTo>
                    <a:pt x="45" y="71"/>
                    <a:pt x="47" y="72"/>
                    <a:pt x="49" y="72"/>
                  </a:cubicBezTo>
                  <a:close/>
                  <a:moveTo>
                    <a:pt x="65" y="48"/>
                  </a:moveTo>
                  <a:cubicBezTo>
                    <a:pt x="49" y="20"/>
                    <a:pt x="49" y="20"/>
                    <a:pt x="49" y="20"/>
                  </a:cubicBezTo>
                  <a:cubicBezTo>
                    <a:pt x="34" y="47"/>
                    <a:pt x="34" y="47"/>
                    <a:pt x="34" y="47"/>
                  </a:cubicBezTo>
                  <a:cubicBezTo>
                    <a:pt x="34" y="48"/>
                    <a:pt x="34" y="48"/>
                    <a:pt x="33" y="48"/>
                  </a:cubicBezTo>
                  <a:cubicBezTo>
                    <a:pt x="17" y="75"/>
                    <a:pt x="17" y="75"/>
                    <a:pt x="17" y="75"/>
                  </a:cubicBezTo>
                  <a:cubicBezTo>
                    <a:pt x="49" y="75"/>
                    <a:pt x="49" y="75"/>
                    <a:pt x="49" y="75"/>
                  </a:cubicBezTo>
                  <a:cubicBezTo>
                    <a:pt x="81" y="75"/>
                    <a:pt x="81" y="75"/>
                    <a:pt x="81" y="75"/>
                  </a:cubicBezTo>
                  <a:cubicBezTo>
                    <a:pt x="65" y="48"/>
                    <a:pt x="65" y="48"/>
                    <a:pt x="65" y="48"/>
                  </a:cubicBezTo>
                  <a:cubicBezTo>
                    <a:pt x="65" y="48"/>
                    <a:pt x="65" y="48"/>
                    <a:pt x="65" y="48"/>
                  </a:cubicBezTo>
                  <a:close/>
                </a:path>
              </a:pathLst>
            </a:custGeom>
            <a:solidFill>
              <a:srgbClr val="03A9F3"/>
            </a:solidFill>
            <a:ln>
              <a:noFill/>
            </a:ln>
          </p:spPr>
          <p:txBody>
            <a:bodyPr lIns="121920" tIns="60960" rIns="121920" bIns="60960"/>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2" name="标题 1"/>
          <p:cNvSpPr>
            <a:spLocks noGrp="1"/>
          </p:cNvSpPr>
          <p:nvPr>
            <p:ph type="title"/>
          </p:nvPr>
        </p:nvSpPr>
        <p:spPr>
          <a:xfrm>
            <a:off x="771525" y="95885"/>
            <a:ext cx="3387090" cy="497205"/>
          </a:xfrm>
        </p:spPr>
        <p:txBody>
          <a:bodyPr>
            <a:noAutofit/>
          </a:bodyPr>
          <a:p>
            <a:r>
              <a:rPr lang="zh-CN" altLang="en-US" sz="1800" b="1" spc="300" dirty="0">
                <a:solidFill>
                  <a:srgbClr val="0067B0"/>
                </a:solidFill>
                <a:latin typeface="Arial" panose="020B0604020202020204" pitchFamily="34" charset="0"/>
                <a:ea typeface="微软雅黑" panose="020B0503020204020204" pitchFamily="34" charset="-122"/>
                <a:sym typeface="Arial" panose="020B0604020202020204" pitchFamily="34" charset="0"/>
              </a:rPr>
              <a:t>履行社会责任的战略形式</a:t>
            </a:r>
            <a:endParaRPr lang="zh-CN" altLang="en-US" sz="1800" b="1" spc="300"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8"/>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7"/>
          <p:cNvSpPr>
            <a:spLocks noChangeArrowheads="1"/>
          </p:cNvSpPr>
          <p:nvPr/>
        </p:nvSpPr>
        <p:spPr bwMode="auto">
          <a:xfrm>
            <a:off x="7938" y="-7938"/>
            <a:ext cx="1879600" cy="5143501"/>
          </a:xfrm>
          <a:prstGeom prst="rect">
            <a:avLst/>
          </a:prstGeom>
          <a:solidFill>
            <a:srgbClr val="1D9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0" name="任意多边形 40"/>
          <p:cNvSpPr>
            <a:spLocks noChangeArrowheads="1"/>
          </p:cNvSpPr>
          <p:nvPr/>
        </p:nvSpPr>
        <p:spPr bwMode="auto">
          <a:xfrm>
            <a:off x="3860800" y="4000500"/>
            <a:ext cx="615950" cy="831850"/>
          </a:xfrm>
          <a:custGeom>
            <a:avLst/>
            <a:gdLst>
              <a:gd name="T0" fmla="*/ 0 w 577850"/>
              <a:gd name="T1" fmla="*/ 0 h 736600"/>
              <a:gd name="T2" fmla="*/ 361950 w 577850"/>
              <a:gd name="T3" fmla="*/ 736600 h 736600"/>
              <a:gd name="T4" fmla="*/ 577850 w 577850"/>
              <a:gd name="T5" fmla="*/ 476250 h 736600"/>
              <a:gd name="T6" fmla="*/ 0 w 577850"/>
              <a:gd name="T7" fmla="*/ 0 h 736600"/>
              <a:gd name="T8" fmla="*/ 0 60000 65536"/>
              <a:gd name="T9" fmla="*/ 0 60000 65536"/>
              <a:gd name="T10" fmla="*/ 0 60000 65536"/>
              <a:gd name="T11" fmla="*/ 0 60000 65536"/>
              <a:gd name="T12" fmla="*/ 0 w 577850"/>
              <a:gd name="T13" fmla="*/ 0 h 736600"/>
              <a:gd name="T14" fmla="*/ 577850 w 577850"/>
              <a:gd name="T15" fmla="*/ 736600 h 736600"/>
            </a:gdLst>
            <a:ahLst/>
            <a:cxnLst>
              <a:cxn ang="T8">
                <a:pos x="T0" y="T1"/>
              </a:cxn>
              <a:cxn ang="T9">
                <a:pos x="T2" y="T3"/>
              </a:cxn>
              <a:cxn ang="T10">
                <a:pos x="T4" y="T5"/>
              </a:cxn>
              <a:cxn ang="T11">
                <a:pos x="T6" y="T7"/>
              </a:cxn>
            </a:cxnLst>
            <a:rect l="T12" t="T13" r="T14" b="T15"/>
            <a:pathLst>
              <a:path w="577850" h="736600">
                <a:moveTo>
                  <a:pt x="0" y="0"/>
                </a:moveTo>
                <a:lnTo>
                  <a:pt x="361950" y="736600"/>
                </a:lnTo>
                <a:lnTo>
                  <a:pt x="577850" y="476250"/>
                </a:lnTo>
                <a:lnTo>
                  <a:pt x="0" y="0"/>
                </a:lnTo>
                <a:close/>
              </a:path>
            </a:pathLst>
          </a:custGeom>
          <a:solidFill>
            <a:srgbClr val="EC25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1" name="任意多边形 46"/>
          <p:cNvSpPr>
            <a:spLocks noChangeArrowheads="1"/>
          </p:cNvSpPr>
          <p:nvPr/>
        </p:nvSpPr>
        <p:spPr bwMode="auto">
          <a:xfrm>
            <a:off x="4210050" y="4495800"/>
            <a:ext cx="596900" cy="336550"/>
          </a:xfrm>
          <a:custGeom>
            <a:avLst/>
            <a:gdLst>
              <a:gd name="T0" fmla="*/ 0 w 495300"/>
              <a:gd name="T1" fmla="*/ 266700 h 266700"/>
              <a:gd name="T2" fmla="*/ 495300 w 495300"/>
              <a:gd name="T3" fmla="*/ 266700 h 266700"/>
              <a:gd name="T4" fmla="*/ 177800 w 495300"/>
              <a:gd name="T5" fmla="*/ 0 h 266700"/>
              <a:gd name="T6" fmla="*/ 0 w 495300"/>
              <a:gd name="T7" fmla="*/ 266700 h 266700"/>
              <a:gd name="T8" fmla="*/ 0 60000 65536"/>
              <a:gd name="T9" fmla="*/ 0 60000 65536"/>
              <a:gd name="T10" fmla="*/ 0 60000 65536"/>
              <a:gd name="T11" fmla="*/ 0 60000 65536"/>
              <a:gd name="T12" fmla="*/ 0 w 495300"/>
              <a:gd name="T13" fmla="*/ 0 h 266700"/>
              <a:gd name="T14" fmla="*/ 495300 w 495300"/>
              <a:gd name="T15" fmla="*/ 266700 h 266700"/>
            </a:gdLst>
            <a:ahLst/>
            <a:cxnLst>
              <a:cxn ang="T8">
                <a:pos x="T0" y="T1"/>
              </a:cxn>
              <a:cxn ang="T9">
                <a:pos x="T2" y="T3"/>
              </a:cxn>
              <a:cxn ang="T10">
                <a:pos x="T4" y="T5"/>
              </a:cxn>
              <a:cxn ang="T11">
                <a:pos x="T6" y="T7"/>
              </a:cxn>
            </a:cxnLst>
            <a:rect l="T12" t="T13" r="T14" b="T15"/>
            <a:pathLst>
              <a:path w="495300" h="266700">
                <a:moveTo>
                  <a:pt x="0" y="266700"/>
                </a:moveTo>
                <a:lnTo>
                  <a:pt x="495300" y="266700"/>
                </a:lnTo>
                <a:lnTo>
                  <a:pt x="177800" y="0"/>
                </a:lnTo>
                <a:lnTo>
                  <a:pt x="0" y="266700"/>
                </a:lnTo>
                <a:close/>
              </a:path>
            </a:pathLst>
          </a:custGeom>
          <a:solidFill>
            <a:srgbClr val="5D0B2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任意多边形 18"/>
          <p:cNvSpPr>
            <a:spLocks noChangeArrowheads="1"/>
          </p:cNvSpPr>
          <p:nvPr/>
        </p:nvSpPr>
        <p:spPr bwMode="auto">
          <a:xfrm>
            <a:off x="3092450" y="-101600"/>
            <a:ext cx="488950" cy="1384300"/>
          </a:xfrm>
          <a:custGeom>
            <a:avLst/>
            <a:gdLst>
              <a:gd name="T0" fmla="*/ 0 w 457200"/>
              <a:gd name="T1" fmla="*/ 0 h 1358900"/>
              <a:gd name="T2" fmla="*/ 457200 w 457200"/>
              <a:gd name="T3" fmla="*/ 1358900 h 1358900"/>
              <a:gd name="T4" fmla="*/ 127000 w 457200"/>
              <a:gd name="T5" fmla="*/ 1181100 h 1358900"/>
              <a:gd name="T6" fmla="*/ 0 w 457200"/>
              <a:gd name="T7" fmla="*/ 0 h 1358900"/>
              <a:gd name="T8" fmla="*/ 0 60000 65536"/>
              <a:gd name="T9" fmla="*/ 0 60000 65536"/>
              <a:gd name="T10" fmla="*/ 0 60000 65536"/>
              <a:gd name="T11" fmla="*/ 0 60000 65536"/>
              <a:gd name="T12" fmla="*/ 0 w 457200"/>
              <a:gd name="T13" fmla="*/ 0 h 1358900"/>
              <a:gd name="T14" fmla="*/ 457200 w 457200"/>
              <a:gd name="T15" fmla="*/ 1358900 h 1358900"/>
            </a:gdLst>
            <a:ahLst/>
            <a:cxnLst>
              <a:cxn ang="T8">
                <a:pos x="T0" y="T1"/>
              </a:cxn>
              <a:cxn ang="T9">
                <a:pos x="T2" y="T3"/>
              </a:cxn>
              <a:cxn ang="T10">
                <a:pos x="T4" y="T5"/>
              </a:cxn>
              <a:cxn ang="T11">
                <a:pos x="T6" y="T7"/>
              </a:cxn>
            </a:cxnLst>
            <a:rect l="T12" t="T13" r="T14" b="T15"/>
            <a:pathLst>
              <a:path w="457200" h="1358900">
                <a:moveTo>
                  <a:pt x="0" y="0"/>
                </a:moveTo>
                <a:lnTo>
                  <a:pt x="457200" y="1358900"/>
                </a:lnTo>
                <a:lnTo>
                  <a:pt x="127000" y="1181100"/>
                </a:lnTo>
                <a:lnTo>
                  <a:pt x="0" y="0"/>
                </a:lnTo>
                <a:close/>
              </a:path>
            </a:pathLst>
          </a:custGeom>
          <a:solidFill>
            <a:srgbClr val="260D0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3" name="任意多边形 48"/>
          <p:cNvSpPr>
            <a:spLocks noChangeArrowheads="1"/>
          </p:cNvSpPr>
          <p:nvPr/>
        </p:nvSpPr>
        <p:spPr bwMode="auto">
          <a:xfrm rot="303070">
            <a:off x="4429125" y="4800600"/>
            <a:ext cx="522288" cy="365125"/>
          </a:xfrm>
          <a:custGeom>
            <a:avLst/>
            <a:gdLst>
              <a:gd name="T0" fmla="*/ 311150 w 476250"/>
              <a:gd name="T1" fmla="*/ 0 h 311150"/>
              <a:gd name="T2" fmla="*/ 476250 w 476250"/>
              <a:gd name="T3" fmla="*/ 273050 h 311150"/>
              <a:gd name="T4" fmla="*/ 0 w 476250"/>
              <a:gd name="T5" fmla="*/ 311150 h 311150"/>
              <a:gd name="T6" fmla="*/ 311150 w 476250"/>
              <a:gd name="T7" fmla="*/ 0 h 311150"/>
              <a:gd name="T8" fmla="*/ 0 60000 65536"/>
              <a:gd name="T9" fmla="*/ 0 60000 65536"/>
              <a:gd name="T10" fmla="*/ 0 60000 65536"/>
              <a:gd name="T11" fmla="*/ 0 60000 65536"/>
              <a:gd name="T12" fmla="*/ 0 w 476250"/>
              <a:gd name="T13" fmla="*/ 0 h 311150"/>
              <a:gd name="T14" fmla="*/ 476250 w 476250"/>
              <a:gd name="T15" fmla="*/ 311150 h 311150"/>
            </a:gdLst>
            <a:ahLst/>
            <a:cxnLst>
              <a:cxn ang="T8">
                <a:pos x="T0" y="T1"/>
              </a:cxn>
              <a:cxn ang="T9">
                <a:pos x="T2" y="T3"/>
              </a:cxn>
              <a:cxn ang="T10">
                <a:pos x="T4" y="T5"/>
              </a:cxn>
              <a:cxn ang="T11">
                <a:pos x="T6" y="T7"/>
              </a:cxn>
            </a:cxnLst>
            <a:rect l="T12" t="T13" r="T14" b="T15"/>
            <a:pathLst>
              <a:path w="476250" h="311150">
                <a:moveTo>
                  <a:pt x="311150" y="0"/>
                </a:moveTo>
                <a:lnTo>
                  <a:pt x="476250" y="273050"/>
                </a:lnTo>
                <a:lnTo>
                  <a:pt x="0" y="311150"/>
                </a:lnTo>
                <a:lnTo>
                  <a:pt x="311150" y="0"/>
                </a:lnTo>
                <a:close/>
              </a:path>
            </a:pathLst>
          </a:custGeom>
          <a:solidFill>
            <a:srgbClr val="A21F2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4" name="任意多边形 37"/>
          <p:cNvSpPr>
            <a:spLocks noChangeArrowheads="1"/>
          </p:cNvSpPr>
          <p:nvPr/>
        </p:nvSpPr>
        <p:spPr bwMode="auto">
          <a:xfrm>
            <a:off x="3886200" y="4057650"/>
            <a:ext cx="749300" cy="381000"/>
          </a:xfrm>
          <a:custGeom>
            <a:avLst/>
            <a:gdLst>
              <a:gd name="T0" fmla="*/ 0 w 673100"/>
              <a:gd name="T1" fmla="*/ 6350 h 349250"/>
              <a:gd name="T2" fmla="*/ 673100 w 673100"/>
              <a:gd name="T3" fmla="*/ 349250 h 349250"/>
              <a:gd name="T4" fmla="*/ 520700 w 673100"/>
              <a:gd name="T5" fmla="*/ 0 h 349250"/>
              <a:gd name="T6" fmla="*/ 0 w 673100"/>
              <a:gd name="T7" fmla="*/ 6350 h 349250"/>
              <a:gd name="T8" fmla="*/ 0 60000 65536"/>
              <a:gd name="T9" fmla="*/ 0 60000 65536"/>
              <a:gd name="T10" fmla="*/ 0 60000 65536"/>
              <a:gd name="T11" fmla="*/ 0 60000 65536"/>
              <a:gd name="T12" fmla="*/ 0 w 673100"/>
              <a:gd name="T13" fmla="*/ 0 h 349250"/>
              <a:gd name="T14" fmla="*/ 673100 w 673100"/>
              <a:gd name="T15" fmla="*/ 349250 h 349250"/>
            </a:gdLst>
            <a:ahLst/>
            <a:cxnLst>
              <a:cxn ang="T8">
                <a:pos x="T0" y="T1"/>
              </a:cxn>
              <a:cxn ang="T9">
                <a:pos x="T2" y="T3"/>
              </a:cxn>
              <a:cxn ang="T10">
                <a:pos x="T4" y="T5"/>
              </a:cxn>
              <a:cxn ang="T11">
                <a:pos x="T6" y="T7"/>
              </a:cxn>
            </a:cxnLst>
            <a:rect l="T12" t="T13" r="T14" b="T15"/>
            <a:pathLst>
              <a:path w="673100" h="349250">
                <a:moveTo>
                  <a:pt x="0" y="6350"/>
                </a:moveTo>
                <a:lnTo>
                  <a:pt x="673100" y="349250"/>
                </a:lnTo>
                <a:lnTo>
                  <a:pt x="520700" y="0"/>
                </a:lnTo>
                <a:lnTo>
                  <a:pt x="0" y="6350"/>
                </a:lnTo>
                <a:close/>
              </a:path>
            </a:pathLst>
          </a:custGeom>
          <a:solidFill>
            <a:srgbClr val="EC25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5" name="任意多边形 44"/>
          <p:cNvSpPr>
            <a:spLocks noChangeArrowheads="1"/>
          </p:cNvSpPr>
          <p:nvPr/>
        </p:nvSpPr>
        <p:spPr bwMode="auto">
          <a:xfrm>
            <a:off x="3263900" y="4921250"/>
            <a:ext cx="1187450" cy="222250"/>
          </a:xfrm>
          <a:custGeom>
            <a:avLst/>
            <a:gdLst>
              <a:gd name="T0" fmla="*/ 0 w 1136650"/>
              <a:gd name="T1" fmla="*/ 0 h 222250"/>
              <a:gd name="T2" fmla="*/ 101600 w 1136650"/>
              <a:gd name="T3" fmla="*/ 222250 h 222250"/>
              <a:gd name="T4" fmla="*/ 1136650 w 1136650"/>
              <a:gd name="T5" fmla="*/ 222250 h 222250"/>
              <a:gd name="T6" fmla="*/ 0 w 1136650"/>
              <a:gd name="T7" fmla="*/ 0 h 222250"/>
              <a:gd name="T8" fmla="*/ 0 60000 65536"/>
              <a:gd name="T9" fmla="*/ 0 60000 65536"/>
              <a:gd name="T10" fmla="*/ 0 60000 65536"/>
              <a:gd name="T11" fmla="*/ 0 60000 65536"/>
              <a:gd name="T12" fmla="*/ 0 w 1136650"/>
              <a:gd name="T13" fmla="*/ 0 h 222250"/>
              <a:gd name="T14" fmla="*/ 1136650 w 1136650"/>
              <a:gd name="T15" fmla="*/ 222250 h 222250"/>
            </a:gdLst>
            <a:ahLst/>
            <a:cxnLst>
              <a:cxn ang="T8">
                <a:pos x="T0" y="T1"/>
              </a:cxn>
              <a:cxn ang="T9">
                <a:pos x="T2" y="T3"/>
              </a:cxn>
              <a:cxn ang="T10">
                <a:pos x="T4" y="T5"/>
              </a:cxn>
              <a:cxn ang="T11">
                <a:pos x="T6" y="T7"/>
              </a:cxn>
            </a:cxnLst>
            <a:rect l="T12" t="T13" r="T14" b="T15"/>
            <a:pathLst>
              <a:path w="1136650" h="222250">
                <a:moveTo>
                  <a:pt x="0" y="0"/>
                </a:moveTo>
                <a:lnTo>
                  <a:pt x="101600" y="222250"/>
                </a:lnTo>
                <a:lnTo>
                  <a:pt x="1136650" y="222250"/>
                </a:lnTo>
                <a:lnTo>
                  <a:pt x="0" y="0"/>
                </a:lnTo>
                <a:close/>
              </a:path>
            </a:pathLst>
          </a:custGeom>
          <a:solidFill>
            <a:srgbClr val="E9413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任意多边形 38"/>
          <p:cNvSpPr>
            <a:spLocks noChangeArrowheads="1"/>
          </p:cNvSpPr>
          <p:nvPr/>
        </p:nvSpPr>
        <p:spPr bwMode="auto">
          <a:xfrm>
            <a:off x="3302000" y="4546600"/>
            <a:ext cx="984250" cy="400050"/>
          </a:xfrm>
          <a:custGeom>
            <a:avLst/>
            <a:gdLst>
              <a:gd name="T0" fmla="*/ 298450 w 984250"/>
              <a:gd name="T1" fmla="*/ 0 h 374650"/>
              <a:gd name="T2" fmla="*/ 0 w 984250"/>
              <a:gd name="T3" fmla="*/ 374650 h 374650"/>
              <a:gd name="T4" fmla="*/ 984250 w 984250"/>
              <a:gd name="T5" fmla="*/ 266700 h 374650"/>
              <a:gd name="T6" fmla="*/ 298450 w 984250"/>
              <a:gd name="T7" fmla="*/ 0 h 374650"/>
              <a:gd name="T8" fmla="*/ 0 60000 65536"/>
              <a:gd name="T9" fmla="*/ 0 60000 65536"/>
              <a:gd name="T10" fmla="*/ 0 60000 65536"/>
              <a:gd name="T11" fmla="*/ 0 60000 65536"/>
              <a:gd name="T12" fmla="*/ 0 w 984250"/>
              <a:gd name="T13" fmla="*/ 0 h 374650"/>
              <a:gd name="T14" fmla="*/ 984250 w 984250"/>
              <a:gd name="T15" fmla="*/ 374650 h 374650"/>
            </a:gdLst>
            <a:ahLst/>
            <a:cxnLst>
              <a:cxn ang="T8">
                <a:pos x="T0" y="T1"/>
              </a:cxn>
              <a:cxn ang="T9">
                <a:pos x="T2" y="T3"/>
              </a:cxn>
              <a:cxn ang="T10">
                <a:pos x="T4" y="T5"/>
              </a:cxn>
              <a:cxn ang="T11">
                <a:pos x="T6" y="T7"/>
              </a:cxn>
            </a:cxnLst>
            <a:rect l="T12" t="T13" r="T14" b="T15"/>
            <a:pathLst>
              <a:path w="984250" h="374650">
                <a:moveTo>
                  <a:pt x="298450" y="0"/>
                </a:moveTo>
                <a:lnTo>
                  <a:pt x="0" y="374650"/>
                </a:lnTo>
                <a:lnTo>
                  <a:pt x="984250" y="266700"/>
                </a:lnTo>
                <a:lnTo>
                  <a:pt x="298450" y="0"/>
                </a:lnTo>
                <a:close/>
              </a:path>
            </a:pathLst>
          </a:custGeom>
          <a:solidFill>
            <a:srgbClr val="E7274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7" name="任意多边形 27"/>
          <p:cNvSpPr>
            <a:spLocks noChangeArrowheads="1"/>
          </p:cNvSpPr>
          <p:nvPr/>
        </p:nvSpPr>
        <p:spPr bwMode="auto">
          <a:xfrm>
            <a:off x="3060700" y="2228850"/>
            <a:ext cx="679450" cy="514350"/>
          </a:xfrm>
          <a:custGeom>
            <a:avLst/>
            <a:gdLst>
              <a:gd name="T0" fmla="*/ 0 w 622300"/>
              <a:gd name="T1" fmla="*/ 0 h 457200"/>
              <a:gd name="T2" fmla="*/ 412750 w 622300"/>
              <a:gd name="T3" fmla="*/ 76200 h 457200"/>
              <a:gd name="T4" fmla="*/ 622300 w 622300"/>
              <a:gd name="T5" fmla="*/ 457200 h 457200"/>
              <a:gd name="T6" fmla="*/ 0 w 622300"/>
              <a:gd name="T7" fmla="*/ 0 h 457200"/>
              <a:gd name="T8" fmla="*/ 0 60000 65536"/>
              <a:gd name="T9" fmla="*/ 0 60000 65536"/>
              <a:gd name="T10" fmla="*/ 0 60000 65536"/>
              <a:gd name="T11" fmla="*/ 0 60000 65536"/>
              <a:gd name="T12" fmla="*/ 0 w 622300"/>
              <a:gd name="T13" fmla="*/ 0 h 457200"/>
              <a:gd name="T14" fmla="*/ 622300 w 622300"/>
              <a:gd name="T15" fmla="*/ 457200 h 457200"/>
            </a:gdLst>
            <a:ahLst/>
            <a:cxnLst>
              <a:cxn ang="T8">
                <a:pos x="T0" y="T1"/>
              </a:cxn>
              <a:cxn ang="T9">
                <a:pos x="T2" y="T3"/>
              </a:cxn>
              <a:cxn ang="T10">
                <a:pos x="T4" y="T5"/>
              </a:cxn>
              <a:cxn ang="T11">
                <a:pos x="T6" y="T7"/>
              </a:cxn>
            </a:cxnLst>
            <a:rect l="T12" t="T13" r="T14" b="T15"/>
            <a:pathLst>
              <a:path w="622300" h="457200">
                <a:moveTo>
                  <a:pt x="0" y="0"/>
                </a:moveTo>
                <a:lnTo>
                  <a:pt x="412750" y="76200"/>
                </a:lnTo>
                <a:lnTo>
                  <a:pt x="622300" y="457200"/>
                </a:lnTo>
                <a:lnTo>
                  <a:pt x="0" y="0"/>
                </a:lnTo>
                <a:close/>
              </a:path>
            </a:pathLst>
          </a:custGeom>
          <a:solidFill>
            <a:srgbClr val="4DC5C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任意多边形 23"/>
          <p:cNvSpPr>
            <a:spLocks noChangeArrowheads="1"/>
          </p:cNvSpPr>
          <p:nvPr/>
        </p:nvSpPr>
        <p:spPr bwMode="auto">
          <a:xfrm>
            <a:off x="3067050" y="1492250"/>
            <a:ext cx="615950" cy="749300"/>
          </a:xfrm>
          <a:custGeom>
            <a:avLst/>
            <a:gdLst>
              <a:gd name="T0" fmla="*/ 25400 w 590550"/>
              <a:gd name="T1" fmla="*/ 0 h 704850"/>
              <a:gd name="T2" fmla="*/ 590550 w 590550"/>
              <a:gd name="T3" fmla="*/ 76200 h 704850"/>
              <a:gd name="T4" fmla="*/ 0 w 590550"/>
              <a:gd name="T5" fmla="*/ 704850 h 704850"/>
              <a:gd name="T6" fmla="*/ 25400 w 590550"/>
              <a:gd name="T7" fmla="*/ 0 h 704850"/>
              <a:gd name="T8" fmla="*/ 0 60000 65536"/>
              <a:gd name="T9" fmla="*/ 0 60000 65536"/>
              <a:gd name="T10" fmla="*/ 0 60000 65536"/>
              <a:gd name="T11" fmla="*/ 0 60000 65536"/>
              <a:gd name="T12" fmla="*/ 0 w 590550"/>
              <a:gd name="T13" fmla="*/ 0 h 704850"/>
              <a:gd name="T14" fmla="*/ 590550 w 590550"/>
              <a:gd name="T15" fmla="*/ 704850 h 704850"/>
            </a:gdLst>
            <a:ahLst/>
            <a:cxnLst>
              <a:cxn ang="T8">
                <a:pos x="T0" y="T1"/>
              </a:cxn>
              <a:cxn ang="T9">
                <a:pos x="T2" y="T3"/>
              </a:cxn>
              <a:cxn ang="T10">
                <a:pos x="T4" y="T5"/>
              </a:cxn>
              <a:cxn ang="T11">
                <a:pos x="T6" y="T7"/>
              </a:cxn>
            </a:cxnLst>
            <a:rect l="T12" t="T13" r="T14" b="T15"/>
            <a:pathLst>
              <a:path w="590550" h="704850">
                <a:moveTo>
                  <a:pt x="25400" y="0"/>
                </a:moveTo>
                <a:lnTo>
                  <a:pt x="590550" y="76200"/>
                </a:lnTo>
                <a:lnTo>
                  <a:pt x="0" y="704850"/>
                </a:lnTo>
                <a:lnTo>
                  <a:pt x="25400" y="0"/>
                </a:lnTo>
                <a:close/>
              </a:path>
            </a:pathLst>
          </a:custGeom>
          <a:solidFill>
            <a:srgbClr val="17B7D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9" name="任意多边形 22"/>
          <p:cNvSpPr>
            <a:spLocks noChangeArrowheads="1"/>
          </p:cNvSpPr>
          <p:nvPr/>
        </p:nvSpPr>
        <p:spPr bwMode="auto">
          <a:xfrm>
            <a:off x="3079750" y="1250950"/>
            <a:ext cx="590550" cy="330200"/>
          </a:xfrm>
          <a:custGeom>
            <a:avLst/>
            <a:gdLst>
              <a:gd name="T0" fmla="*/ 0 w 590550"/>
              <a:gd name="T1" fmla="*/ 279400 h 330200"/>
              <a:gd name="T2" fmla="*/ 482600 w 590550"/>
              <a:gd name="T3" fmla="*/ 0 h 330200"/>
              <a:gd name="T4" fmla="*/ 590550 w 590550"/>
              <a:gd name="T5" fmla="*/ 330200 h 330200"/>
              <a:gd name="T6" fmla="*/ 0 w 590550"/>
              <a:gd name="T7" fmla="*/ 279400 h 330200"/>
              <a:gd name="T8" fmla="*/ 0 60000 65536"/>
              <a:gd name="T9" fmla="*/ 0 60000 65536"/>
              <a:gd name="T10" fmla="*/ 0 60000 65536"/>
              <a:gd name="T11" fmla="*/ 0 60000 65536"/>
              <a:gd name="T12" fmla="*/ 0 w 590550"/>
              <a:gd name="T13" fmla="*/ 0 h 330200"/>
              <a:gd name="T14" fmla="*/ 590550 w 590550"/>
              <a:gd name="T15" fmla="*/ 330200 h 330200"/>
            </a:gdLst>
            <a:ahLst/>
            <a:cxnLst>
              <a:cxn ang="T8">
                <a:pos x="T0" y="T1"/>
              </a:cxn>
              <a:cxn ang="T9">
                <a:pos x="T2" y="T3"/>
              </a:cxn>
              <a:cxn ang="T10">
                <a:pos x="T4" y="T5"/>
              </a:cxn>
              <a:cxn ang="T11">
                <a:pos x="T6" y="T7"/>
              </a:cxn>
            </a:cxnLst>
            <a:rect l="T12" t="T13" r="T14" b="T15"/>
            <a:pathLst>
              <a:path w="590550" h="330200">
                <a:moveTo>
                  <a:pt x="0" y="279400"/>
                </a:moveTo>
                <a:lnTo>
                  <a:pt x="482600" y="0"/>
                </a:lnTo>
                <a:lnTo>
                  <a:pt x="590550" y="330200"/>
                </a:lnTo>
                <a:lnTo>
                  <a:pt x="0" y="279400"/>
                </a:lnTo>
                <a:close/>
              </a:path>
            </a:pathLst>
          </a:custGeom>
          <a:solidFill>
            <a:srgbClr val="57C8E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0" name="任意多边形 45"/>
          <p:cNvSpPr>
            <a:spLocks noChangeArrowheads="1"/>
          </p:cNvSpPr>
          <p:nvPr/>
        </p:nvSpPr>
        <p:spPr bwMode="auto">
          <a:xfrm>
            <a:off x="3251200" y="4927600"/>
            <a:ext cx="177800" cy="228600"/>
          </a:xfrm>
          <a:custGeom>
            <a:avLst/>
            <a:gdLst>
              <a:gd name="T0" fmla="*/ 50800 w 177800"/>
              <a:gd name="T1" fmla="*/ 0 h 228600"/>
              <a:gd name="T2" fmla="*/ 0 w 177800"/>
              <a:gd name="T3" fmla="*/ 228600 h 228600"/>
              <a:gd name="T4" fmla="*/ 177800 w 177800"/>
              <a:gd name="T5" fmla="*/ 228600 h 228600"/>
              <a:gd name="T6" fmla="*/ 50800 w 177800"/>
              <a:gd name="T7" fmla="*/ 0 h 228600"/>
              <a:gd name="T8" fmla="*/ 0 60000 65536"/>
              <a:gd name="T9" fmla="*/ 0 60000 65536"/>
              <a:gd name="T10" fmla="*/ 0 60000 65536"/>
              <a:gd name="T11" fmla="*/ 0 60000 65536"/>
              <a:gd name="T12" fmla="*/ 0 w 177800"/>
              <a:gd name="T13" fmla="*/ 0 h 228600"/>
              <a:gd name="T14" fmla="*/ 177800 w 177800"/>
              <a:gd name="T15" fmla="*/ 228600 h 228600"/>
            </a:gdLst>
            <a:ahLst/>
            <a:cxnLst>
              <a:cxn ang="T8">
                <a:pos x="T0" y="T1"/>
              </a:cxn>
              <a:cxn ang="T9">
                <a:pos x="T2" y="T3"/>
              </a:cxn>
              <a:cxn ang="T10">
                <a:pos x="T4" y="T5"/>
              </a:cxn>
              <a:cxn ang="T11">
                <a:pos x="T6" y="T7"/>
              </a:cxn>
            </a:cxnLst>
            <a:rect l="T12" t="T13" r="T14" b="T15"/>
            <a:pathLst>
              <a:path w="177800" h="228600">
                <a:moveTo>
                  <a:pt x="50800" y="0"/>
                </a:moveTo>
                <a:lnTo>
                  <a:pt x="0" y="228600"/>
                </a:lnTo>
                <a:lnTo>
                  <a:pt x="177800" y="228600"/>
                </a:lnTo>
                <a:lnTo>
                  <a:pt x="50800" y="0"/>
                </a:lnTo>
                <a:close/>
              </a:path>
            </a:pathLst>
          </a:custGeom>
          <a:solidFill>
            <a:srgbClr val="EB632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任意多边形 10"/>
          <p:cNvSpPr>
            <a:spLocks noChangeArrowheads="1"/>
          </p:cNvSpPr>
          <p:nvPr/>
        </p:nvSpPr>
        <p:spPr bwMode="auto">
          <a:xfrm>
            <a:off x="2106613" y="-44450"/>
            <a:ext cx="325437" cy="723900"/>
          </a:xfrm>
          <a:custGeom>
            <a:avLst/>
            <a:gdLst>
              <a:gd name="T0" fmla="*/ 20272 w 325072"/>
              <a:gd name="T1" fmla="*/ 0 h 723900"/>
              <a:gd name="T2" fmla="*/ 102822 w 325072"/>
              <a:gd name="T3" fmla="*/ 19050 h 723900"/>
              <a:gd name="T4" fmla="*/ 325072 w 325072"/>
              <a:gd name="T5" fmla="*/ 723900 h 723900"/>
              <a:gd name="T6" fmla="*/ 1222 w 325072"/>
              <a:gd name="T7" fmla="*/ 565150 h 723900"/>
              <a:gd name="T8" fmla="*/ 20272 w 325072"/>
              <a:gd name="T9" fmla="*/ 0 h 723900"/>
              <a:gd name="T10" fmla="*/ 0 60000 65536"/>
              <a:gd name="T11" fmla="*/ 0 60000 65536"/>
              <a:gd name="T12" fmla="*/ 0 60000 65536"/>
              <a:gd name="T13" fmla="*/ 0 60000 65536"/>
              <a:gd name="T14" fmla="*/ 0 60000 65536"/>
              <a:gd name="T15" fmla="*/ 0 w 325072"/>
              <a:gd name="T16" fmla="*/ 0 h 723900"/>
              <a:gd name="T17" fmla="*/ 325072 w 325072"/>
              <a:gd name="T18" fmla="*/ 723900 h 723900"/>
            </a:gdLst>
            <a:ahLst/>
            <a:cxnLst>
              <a:cxn ang="T10">
                <a:pos x="T0" y="T1"/>
              </a:cxn>
              <a:cxn ang="T11">
                <a:pos x="T2" y="T3"/>
              </a:cxn>
              <a:cxn ang="T12">
                <a:pos x="T4" y="T5"/>
              </a:cxn>
              <a:cxn ang="T13">
                <a:pos x="T6" y="T7"/>
              </a:cxn>
              <a:cxn ang="T14">
                <a:pos x="T8" y="T9"/>
              </a:cxn>
            </a:cxnLst>
            <a:rect l="T15" t="T16" r="T17" b="T18"/>
            <a:pathLst>
              <a:path w="325072" h="723900">
                <a:moveTo>
                  <a:pt x="20272" y="0"/>
                </a:moveTo>
                <a:lnTo>
                  <a:pt x="102822" y="19050"/>
                </a:lnTo>
                <a:lnTo>
                  <a:pt x="325072" y="723900"/>
                </a:lnTo>
                <a:lnTo>
                  <a:pt x="1222" y="565150"/>
                </a:lnTo>
                <a:cubicBezTo>
                  <a:pt x="-895" y="372533"/>
                  <a:pt x="-3011" y="179917"/>
                  <a:pt x="20272" y="0"/>
                </a:cubicBezTo>
                <a:close/>
              </a:path>
            </a:pathLst>
          </a:custGeom>
          <a:solidFill>
            <a:srgbClr val="21BDE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2" name="任意多边形 5"/>
          <p:cNvSpPr>
            <a:spLocks noChangeArrowheads="1"/>
          </p:cNvSpPr>
          <p:nvPr/>
        </p:nvSpPr>
        <p:spPr bwMode="auto">
          <a:xfrm>
            <a:off x="1758950" y="6350"/>
            <a:ext cx="1835150" cy="5156200"/>
          </a:xfrm>
          <a:custGeom>
            <a:avLst/>
            <a:gdLst>
              <a:gd name="T0" fmla="*/ 0 w 1835150"/>
              <a:gd name="T1" fmla="*/ 0 h 5156200"/>
              <a:gd name="T2" fmla="*/ 374650 w 1835150"/>
              <a:gd name="T3" fmla="*/ 508000 h 5156200"/>
              <a:gd name="T4" fmla="*/ 1339850 w 1835150"/>
              <a:gd name="T5" fmla="*/ 1555750 h 5156200"/>
              <a:gd name="T6" fmla="*/ 1333500 w 1835150"/>
              <a:gd name="T7" fmla="*/ 2228850 h 5156200"/>
              <a:gd name="T8" fmla="*/ 1498600 w 1835150"/>
              <a:gd name="T9" fmla="*/ 3536950 h 5156200"/>
              <a:gd name="T10" fmla="*/ 1835150 w 1835150"/>
              <a:gd name="T11" fmla="*/ 4559300 h 5156200"/>
              <a:gd name="T12" fmla="*/ 1568450 w 1835150"/>
              <a:gd name="T13" fmla="*/ 4940300 h 5156200"/>
              <a:gd name="T14" fmla="*/ 1504950 w 1835150"/>
              <a:gd name="T15" fmla="*/ 5137150 h 5156200"/>
              <a:gd name="T16" fmla="*/ 12700 w 1835150"/>
              <a:gd name="T17" fmla="*/ 5156200 h 5156200"/>
              <a:gd name="T18" fmla="*/ 0 w 1835150"/>
              <a:gd name="T19" fmla="*/ 0 h 5156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35150"/>
              <a:gd name="T31" fmla="*/ 0 h 5156200"/>
              <a:gd name="T32" fmla="*/ 1835150 w 1835150"/>
              <a:gd name="T33" fmla="*/ 5156200 h 51562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35150" h="5156200">
                <a:moveTo>
                  <a:pt x="0" y="0"/>
                </a:moveTo>
                <a:lnTo>
                  <a:pt x="374650" y="508000"/>
                </a:lnTo>
                <a:lnTo>
                  <a:pt x="1339850" y="1555750"/>
                </a:lnTo>
                <a:cubicBezTo>
                  <a:pt x="1337733" y="1780117"/>
                  <a:pt x="1335617" y="2004483"/>
                  <a:pt x="1333500" y="2228850"/>
                </a:cubicBezTo>
                <a:lnTo>
                  <a:pt x="1498600" y="3536950"/>
                </a:lnTo>
                <a:lnTo>
                  <a:pt x="1835150" y="4559300"/>
                </a:lnTo>
                <a:lnTo>
                  <a:pt x="1568450" y="4940300"/>
                </a:lnTo>
                <a:lnTo>
                  <a:pt x="1504950" y="5137150"/>
                </a:lnTo>
                <a:lnTo>
                  <a:pt x="12700" y="5156200"/>
                </a:lnTo>
                <a:cubicBezTo>
                  <a:pt x="8467" y="3437467"/>
                  <a:pt x="4233" y="1718733"/>
                  <a:pt x="0" y="0"/>
                </a:cubicBezTo>
                <a:close/>
              </a:path>
            </a:pathLst>
          </a:custGeom>
          <a:solidFill>
            <a:srgbClr val="1D9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3" name="任意多边形 8"/>
          <p:cNvSpPr>
            <a:spLocks noChangeArrowheads="1"/>
          </p:cNvSpPr>
          <p:nvPr/>
        </p:nvSpPr>
        <p:spPr bwMode="auto">
          <a:xfrm>
            <a:off x="1720850" y="-25400"/>
            <a:ext cx="400050" cy="520700"/>
          </a:xfrm>
          <a:custGeom>
            <a:avLst/>
            <a:gdLst>
              <a:gd name="T0" fmla="*/ 0 w 400050"/>
              <a:gd name="T1" fmla="*/ 0 h 501650"/>
              <a:gd name="T2" fmla="*/ 133350 w 400050"/>
              <a:gd name="T3" fmla="*/ 19050 h 501650"/>
              <a:gd name="T4" fmla="*/ 400050 w 400050"/>
              <a:gd name="T5" fmla="*/ 501650 h 501650"/>
              <a:gd name="T6" fmla="*/ 0 w 400050"/>
              <a:gd name="T7" fmla="*/ 0 h 501650"/>
              <a:gd name="T8" fmla="*/ 0 60000 65536"/>
              <a:gd name="T9" fmla="*/ 0 60000 65536"/>
              <a:gd name="T10" fmla="*/ 0 60000 65536"/>
              <a:gd name="T11" fmla="*/ 0 60000 65536"/>
              <a:gd name="T12" fmla="*/ 0 w 400050"/>
              <a:gd name="T13" fmla="*/ 0 h 501650"/>
              <a:gd name="T14" fmla="*/ 400050 w 400050"/>
              <a:gd name="T15" fmla="*/ 501650 h 501650"/>
            </a:gdLst>
            <a:ahLst/>
            <a:cxnLst>
              <a:cxn ang="T8">
                <a:pos x="T0" y="T1"/>
              </a:cxn>
              <a:cxn ang="T9">
                <a:pos x="T2" y="T3"/>
              </a:cxn>
              <a:cxn ang="T10">
                <a:pos x="T4" y="T5"/>
              </a:cxn>
              <a:cxn ang="T11">
                <a:pos x="T6" y="T7"/>
              </a:cxn>
            </a:cxnLst>
            <a:rect l="T12" t="T13" r="T14" b="T15"/>
            <a:pathLst>
              <a:path w="400050" h="501650">
                <a:moveTo>
                  <a:pt x="0" y="0"/>
                </a:moveTo>
                <a:lnTo>
                  <a:pt x="133350" y="19050"/>
                </a:lnTo>
                <a:lnTo>
                  <a:pt x="400050" y="501650"/>
                </a:lnTo>
                <a:lnTo>
                  <a:pt x="0" y="0"/>
                </a:lnTo>
                <a:close/>
              </a:path>
            </a:pathLst>
          </a:custGeom>
          <a:solidFill>
            <a:srgbClr val="0AAEC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4" name="任意多边形 9"/>
          <p:cNvSpPr>
            <a:spLocks noChangeArrowheads="1"/>
          </p:cNvSpPr>
          <p:nvPr/>
        </p:nvSpPr>
        <p:spPr bwMode="auto">
          <a:xfrm>
            <a:off x="1847850" y="-12700"/>
            <a:ext cx="279400" cy="514350"/>
          </a:xfrm>
          <a:custGeom>
            <a:avLst/>
            <a:gdLst>
              <a:gd name="T0" fmla="*/ 0 w 279400"/>
              <a:gd name="T1" fmla="*/ 12700 h 514350"/>
              <a:gd name="T2" fmla="*/ 279400 w 279400"/>
              <a:gd name="T3" fmla="*/ 0 h 514350"/>
              <a:gd name="T4" fmla="*/ 273050 w 279400"/>
              <a:gd name="T5" fmla="*/ 514350 h 514350"/>
              <a:gd name="T6" fmla="*/ 0 w 279400"/>
              <a:gd name="T7" fmla="*/ 12700 h 514350"/>
              <a:gd name="T8" fmla="*/ 0 60000 65536"/>
              <a:gd name="T9" fmla="*/ 0 60000 65536"/>
              <a:gd name="T10" fmla="*/ 0 60000 65536"/>
              <a:gd name="T11" fmla="*/ 0 60000 65536"/>
              <a:gd name="T12" fmla="*/ 0 w 279400"/>
              <a:gd name="T13" fmla="*/ 0 h 514350"/>
              <a:gd name="T14" fmla="*/ 279400 w 279400"/>
              <a:gd name="T15" fmla="*/ 514350 h 514350"/>
            </a:gdLst>
            <a:ahLst/>
            <a:cxnLst>
              <a:cxn ang="T8">
                <a:pos x="T0" y="T1"/>
              </a:cxn>
              <a:cxn ang="T9">
                <a:pos x="T2" y="T3"/>
              </a:cxn>
              <a:cxn ang="T10">
                <a:pos x="T4" y="T5"/>
              </a:cxn>
              <a:cxn ang="T11">
                <a:pos x="T6" y="T7"/>
              </a:cxn>
            </a:cxnLst>
            <a:rect l="T12" t="T13" r="T14" b="T15"/>
            <a:pathLst>
              <a:path w="279400" h="514350">
                <a:moveTo>
                  <a:pt x="0" y="12700"/>
                </a:moveTo>
                <a:lnTo>
                  <a:pt x="279400" y="0"/>
                </a:lnTo>
                <a:cubicBezTo>
                  <a:pt x="277283" y="171450"/>
                  <a:pt x="275167" y="342900"/>
                  <a:pt x="273050" y="514350"/>
                </a:cubicBezTo>
                <a:lnTo>
                  <a:pt x="0" y="12700"/>
                </a:lnTo>
                <a:close/>
              </a:path>
            </a:pathLst>
          </a:custGeom>
          <a:solidFill>
            <a:srgbClr val="17B7D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任意多边形 11"/>
          <p:cNvSpPr>
            <a:spLocks noChangeArrowheads="1"/>
          </p:cNvSpPr>
          <p:nvPr/>
        </p:nvSpPr>
        <p:spPr bwMode="auto">
          <a:xfrm>
            <a:off x="2133600" y="527050"/>
            <a:ext cx="368300" cy="184150"/>
          </a:xfrm>
          <a:custGeom>
            <a:avLst/>
            <a:gdLst>
              <a:gd name="T0" fmla="*/ 0 w 368300"/>
              <a:gd name="T1" fmla="*/ 0 h 184150"/>
              <a:gd name="T2" fmla="*/ 368300 w 368300"/>
              <a:gd name="T3" fmla="*/ 177800 h 184150"/>
              <a:gd name="T4" fmla="*/ 152400 w 368300"/>
              <a:gd name="T5" fmla="*/ 184150 h 184150"/>
              <a:gd name="T6" fmla="*/ 0 w 368300"/>
              <a:gd name="T7" fmla="*/ 0 h 184150"/>
              <a:gd name="T8" fmla="*/ 0 60000 65536"/>
              <a:gd name="T9" fmla="*/ 0 60000 65536"/>
              <a:gd name="T10" fmla="*/ 0 60000 65536"/>
              <a:gd name="T11" fmla="*/ 0 60000 65536"/>
              <a:gd name="T12" fmla="*/ 0 w 368300"/>
              <a:gd name="T13" fmla="*/ 0 h 184150"/>
              <a:gd name="T14" fmla="*/ 368300 w 368300"/>
              <a:gd name="T15" fmla="*/ 184150 h 184150"/>
            </a:gdLst>
            <a:ahLst/>
            <a:cxnLst>
              <a:cxn ang="T8">
                <a:pos x="T0" y="T1"/>
              </a:cxn>
              <a:cxn ang="T9">
                <a:pos x="T2" y="T3"/>
              </a:cxn>
              <a:cxn ang="T10">
                <a:pos x="T4" y="T5"/>
              </a:cxn>
              <a:cxn ang="T11">
                <a:pos x="T6" y="T7"/>
              </a:cxn>
            </a:cxnLst>
            <a:rect l="T12" t="T13" r="T14" b="T15"/>
            <a:pathLst>
              <a:path w="368300" h="184150">
                <a:moveTo>
                  <a:pt x="0" y="0"/>
                </a:moveTo>
                <a:lnTo>
                  <a:pt x="368300" y="177800"/>
                </a:lnTo>
                <a:lnTo>
                  <a:pt x="152400" y="184150"/>
                </a:lnTo>
                <a:lnTo>
                  <a:pt x="0" y="0"/>
                </a:lnTo>
                <a:close/>
              </a:path>
            </a:pathLst>
          </a:custGeom>
          <a:solidFill>
            <a:srgbClr val="2198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6" name="任意多边形 12"/>
          <p:cNvSpPr>
            <a:spLocks noChangeArrowheads="1"/>
          </p:cNvSpPr>
          <p:nvPr/>
        </p:nvSpPr>
        <p:spPr bwMode="auto">
          <a:xfrm>
            <a:off x="2279650" y="692150"/>
            <a:ext cx="958850" cy="876300"/>
          </a:xfrm>
          <a:custGeom>
            <a:avLst/>
            <a:gdLst>
              <a:gd name="T0" fmla="*/ 222250 w 958850"/>
              <a:gd name="T1" fmla="*/ 0 h 876300"/>
              <a:gd name="T2" fmla="*/ 958850 w 958850"/>
              <a:gd name="T3" fmla="*/ 393700 h 876300"/>
              <a:gd name="T4" fmla="*/ 819150 w 958850"/>
              <a:gd name="T5" fmla="*/ 876300 h 876300"/>
              <a:gd name="T6" fmla="*/ 0 w 958850"/>
              <a:gd name="T7" fmla="*/ 6350 h 876300"/>
              <a:gd name="T8" fmla="*/ 222250 w 958850"/>
              <a:gd name="T9" fmla="*/ 0 h 876300"/>
              <a:gd name="T10" fmla="*/ 0 60000 65536"/>
              <a:gd name="T11" fmla="*/ 0 60000 65536"/>
              <a:gd name="T12" fmla="*/ 0 60000 65536"/>
              <a:gd name="T13" fmla="*/ 0 60000 65536"/>
              <a:gd name="T14" fmla="*/ 0 60000 65536"/>
              <a:gd name="T15" fmla="*/ 0 w 958850"/>
              <a:gd name="T16" fmla="*/ 0 h 876300"/>
              <a:gd name="T17" fmla="*/ 958850 w 958850"/>
              <a:gd name="T18" fmla="*/ 876300 h 876300"/>
            </a:gdLst>
            <a:ahLst/>
            <a:cxnLst>
              <a:cxn ang="T10">
                <a:pos x="T0" y="T1"/>
              </a:cxn>
              <a:cxn ang="T11">
                <a:pos x="T2" y="T3"/>
              </a:cxn>
              <a:cxn ang="T12">
                <a:pos x="T4" y="T5"/>
              </a:cxn>
              <a:cxn ang="T13">
                <a:pos x="T6" y="T7"/>
              </a:cxn>
              <a:cxn ang="T14">
                <a:pos x="T8" y="T9"/>
              </a:cxn>
            </a:cxnLst>
            <a:rect l="T15" t="T16" r="T17" b="T18"/>
            <a:pathLst>
              <a:path w="958850" h="876300">
                <a:moveTo>
                  <a:pt x="222250" y="0"/>
                </a:moveTo>
                <a:lnTo>
                  <a:pt x="958850" y="393700"/>
                </a:lnTo>
                <a:lnTo>
                  <a:pt x="819150" y="876300"/>
                </a:lnTo>
                <a:lnTo>
                  <a:pt x="0" y="6350"/>
                </a:lnTo>
                <a:lnTo>
                  <a:pt x="222250" y="0"/>
                </a:lnTo>
                <a:close/>
              </a:path>
            </a:pathLst>
          </a:custGeom>
          <a:solidFill>
            <a:srgbClr val="17B7D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7" name="任意多边形 13"/>
          <p:cNvSpPr>
            <a:spLocks noChangeArrowheads="1"/>
          </p:cNvSpPr>
          <p:nvPr/>
        </p:nvSpPr>
        <p:spPr bwMode="auto">
          <a:xfrm>
            <a:off x="3086100" y="1092200"/>
            <a:ext cx="482600" cy="444500"/>
          </a:xfrm>
          <a:custGeom>
            <a:avLst/>
            <a:gdLst>
              <a:gd name="T0" fmla="*/ 146050 w 482600"/>
              <a:gd name="T1" fmla="*/ 0 h 444500"/>
              <a:gd name="T2" fmla="*/ 482600 w 482600"/>
              <a:gd name="T3" fmla="*/ 171450 h 444500"/>
              <a:gd name="T4" fmla="*/ 0 w 482600"/>
              <a:gd name="T5" fmla="*/ 444500 h 444500"/>
              <a:gd name="T6" fmla="*/ 146050 w 482600"/>
              <a:gd name="T7" fmla="*/ 0 h 444500"/>
              <a:gd name="T8" fmla="*/ 0 60000 65536"/>
              <a:gd name="T9" fmla="*/ 0 60000 65536"/>
              <a:gd name="T10" fmla="*/ 0 60000 65536"/>
              <a:gd name="T11" fmla="*/ 0 60000 65536"/>
              <a:gd name="T12" fmla="*/ 0 w 482600"/>
              <a:gd name="T13" fmla="*/ 0 h 444500"/>
              <a:gd name="T14" fmla="*/ 482600 w 482600"/>
              <a:gd name="T15" fmla="*/ 444500 h 444500"/>
            </a:gdLst>
            <a:ahLst/>
            <a:cxnLst>
              <a:cxn ang="T8">
                <a:pos x="T0" y="T1"/>
              </a:cxn>
              <a:cxn ang="T9">
                <a:pos x="T2" y="T3"/>
              </a:cxn>
              <a:cxn ang="T10">
                <a:pos x="T4" y="T5"/>
              </a:cxn>
              <a:cxn ang="T11">
                <a:pos x="T6" y="T7"/>
              </a:cxn>
            </a:cxnLst>
            <a:rect l="T12" t="T13" r="T14" b="T15"/>
            <a:pathLst>
              <a:path w="482600" h="444500">
                <a:moveTo>
                  <a:pt x="146050" y="0"/>
                </a:moveTo>
                <a:lnTo>
                  <a:pt x="482600" y="171450"/>
                </a:lnTo>
                <a:lnTo>
                  <a:pt x="0" y="444500"/>
                </a:lnTo>
                <a:lnTo>
                  <a:pt x="146050" y="0"/>
                </a:lnTo>
                <a:close/>
              </a:path>
            </a:pathLst>
          </a:custGeom>
          <a:solidFill>
            <a:srgbClr val="1BA8B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任意多边形 15"/>
          <p:cNvSpPr>
            <a:spLocks noChangeArrowheads="1"/>
          </p:cNvSpPr>
          <p:nvPr/>
        </p:nvSpPr>
        <p:spPr bwMode="auto">
          <a:xfrm>
            <a:off x="2203450" y="-88900"/>
            <a:ext cx="400050" cy="349250"/>
          </a:xfrm>
          <a:custGeom>
            <a:avLst/>
            <a:gdLst>
              <a:gd name="T0" fmla="*/ 0 w 400050"/>
              <a:gd name="T1" fmla="*/ 50800 h 349250"/>
              <a:gd name="T2" fmla="*/ 215900 w 400050"/>
              <a:gd name="T3" fmla="*/ 0 h 349250"/>
              <a:gd name="T4" fmla="*/ 400050 w 400050"/>
              <a:gd name="T5" fmla="*/ 190500 h 349250"/>
              <a:gd name="T6" fmla="*/ 95250 w 400050"/>
              <a:gd name="T7" fmla="*/ 349250 h 349250"/>
              <a:gd name="T8" fmla="*/ 0 w 400050"/>
              <a:gd name="T9" fmla="*/ 50800 h 349250"/>
              <a:gd name="T10" fmla="*/ 0 60000 65536"/>
              <a:gd name="T11" fmla="*/ 0 60000 65536"/>
              <a:gd name="T12" fmla="*/ 0 60000 65536"/>
              <a:gd name="T13" fmla="*/ 0 60000 65536"/>
              <a:gd name="T14" fmla="*/ 0 60000 65536"/>
              <a:gd name="T15" fmla="*/ 0 w 400050"/>
              <a:gd name="T16" fmla="*/ 0 h 349250"/>
              <a:gd name="T17" fmla="*/ 400050 w 400050"/>
              <a:gd name="T18" fmla="*/ 349250 h 349250"/>
            </a:gdLst>
            <a:ahLst/>
            <a:cxnLst>
              <a:cxn ang="T10">
                <a:pos x="T0" y="T1"/>
              </a:cxn>
              <a:cxn ang="T11">
                <a:pos x="T2" y="T3"/>
              </a:cxn>
              <a:cxn ang="T12">
                <a:pos x="T4" y="T5"/>
              </a:cxn>
              <a:cxn ang="T13">
                <a:pos x="T6" y="T7"/>
              </a:cxn>
              <a:cxn ang="T14">
                <a:pos x="T8" y="T9"/>
              </a:cxn>
            </a:cxnLst>
            <a:rect l="T15" t="T16" r="T17" b="T18"/>
            <a:pathLst>
              <a:path w="400050" h="349250">
                <a:moveTo>
                  <a:pt x="0" y="50800"/>
                </a:moveTo>
                <a:lnTo>
                  <a:pt x="215900" y="0"/>
                </a:lnTo>
                <a:lnTo>
                  <a:pt x="400050" y="190500"/>
                </a:lnTo>
                <a:lnTo>
                  <a:pt x="95250" y="349250"/>
                </a:lnTo>
                <a:lnTo>
                  <a:pt x="0" y="50800"/>
                </a:lnTo>
                <a:close/>
              </a:path>
            </a:pathLst>
          </a:custGeom>
          <a:solidFill>
            <a:srgbClr val="69C7C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9" name="任意多边形 16"/>
          <p:cNvSpPr>
            <a:spLocks noChangeArrowheads="1"/>
          </p:cNvSpPr>
          <p:nvPr/>
        </p:nvSpPr>
        <p:spPr bwMode="auto">
          <a:xfrm>
            <a:off x="2292350" y="-152400"/>
            <a:ext cx="800100" cy="800100"/>
          </a:xfrm>
          <a:custGeom>
            <a:avLst/>
            <a:gdLst>
              <a:gd name="T0" fmla="*/ 0 w 762000"/>
              <a:gd name="T1" fmla="*/ 400050 h 800100"/>
              <a:gd name="T2" fmla="*/ 120650 w 762000"/>
              <a:gd name="T3" fmla="*/ 800100 h 800100"/>
              <a:gd name="T4" fmla="*/ 762000 w 762000"/>
              <a:gd name="T5" fmla="*/ 0 h 800100"/>
              <a:gd name="T6" fmla="*/ 463550 w 762000"/>
              <a:gd name="T7" fmla="*/ 152400 h 800100"/>
              <a:gd name="T8" fmla="*/ 0 w 762000"/>
              <a:gd name="T9" fmla="*/ 400050 h 800100"/>
              <a:gd name="T10" fmla="*/ 0 60000 65536"/>
              <a:gd name="T11" fmla="*/ 0 60000 65536"/>
              <a:gd name="T12" fmla="*/ 0 60000 65536"/>
              <a:gd name="T13" fmla="*/ 0 60000 65536"/>
              <a:gd name="T14" fmla="*/ 0 60000 65536"/>
              <a:gd name="T15" fmla="*/ 0 w 762000"/>
              <a:gd name="T16" fmla="*/ 0 h 800100"/>
              <a:gd name="T17" fmla="*/ 762000 w 762000"/>
              <a:gd name="T18" fmla="*/ 800100 h 800100"/>
            </a:gdLst>
            <a:ahLst/>
            <a:cxnLst>
              <a:cxn ang="T10">
                <a:pos x="T0" y="T1"/>
              </a:cxn>
              <a:cxn ang="T11">
                <a:pos x="T2" y="T3"/>
              </a:cxn>
              <a:cxn ang="T12">
                <a:pos x="T4" y="T5"/>
              </a:cxn>
              <a:cxn ang="T13">
                <a:pos x="T6" y="T7"/>
              </a:cxn>
              <a:cxn ang="T14">
                <a:pos x="T8" y="T9"/>
              </a:cxn>
            </a:cxnLst>
            <a:rect l="T15" t="T16" r="T17" b="T18"/>
            <a:pathLst>
              <a:path w="762000" h="800100">
                <a:moveTo>
                  <a:pt x="0" y="400050"/>
                </a:moveTo>
                <a:lnTo>
                  <a:pt x="120650" y="800100"/>
                </a:lnTo>
                <a:lnTo>
                  <a:pt x="762000" y="0"/>
                </a:lnTo>
                <a:lnTo>
                  <a:pt x="463550" y="152400"/>
                </a:lnTo>
                <a:lnTo>
                  <a:pt x="0" y="400050"/>
                </a:lnTo>
                <a:close/>
              </a:path>
            </a:pathLst>
          </a:custGeom>
          <a:solidFill>
            <a:srgbClr val="08A8C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任意多边形 26"/>
          <p:cNvSpPr>
            <a:spLocks noChangeArrowheads="1"/>
          </p:cNvSpPr>
          <p:nvPr/>
        </p:nvSpPr>
        <p:spPr bwMode="auto">
          <a:xfrm>
            <a:off x="3467100" y="1581150"/>
            <a:ext cx="222250" cy="1098550"/>
          </a:xfrm>
          <a:custGeom>
            <a:avLst/>
            <a:gdLst>
              <a:gd name="T0" fmla="*/ 190500 w 222250"/>
              <a:gd name="T1" fmla="*/ 0 h 1098550"/>
              <a:gd name="T2" fmla="*/ 0 w 222250"/>
              <a:gd name="T3" fmla="*/ 736600 h 1098550"/>
              <a:gd name="T4" fmla="*/ 222250 w 222250"/>
              <a:gd name="T5" fmla="*/ 1098550 h 1098550"/>
              <a:gd name="T6" fmla="*/ 190500 w 222250"/>
              <a:gd name="T7" fmla="*/ 0 h 1098550"/>
              <a:gd name="T8" fmla="*/ 0 60000 65536"/>
              <a:gd name="T9" fmla="*/ 0 60000 65536"/>
              <a:gd name="T10" fmla="*/ 0 60000 65536"/>
              <a:gd name="T11" fmla="*/ 0 60000 65536"/>
              <a:gd name="T12" fmla="*/ 0 w 222250"/>
              <a:gd name="T13" fmla="*/ 0 h 1098550"/>
              <a:gd name="T14" fmla="*/ 222250 w 222250"/>
              <a:gd name="T15" fmla="*/ 1098550 h 1098550"/>
            </a:gdLst>
            <a:ahLst/>
            <a:cxnLst>
              <a:cxn ang="T8">
                <a:pos x="T0" y="T1"/>
              </a:cxn>
              <a:cxn ang="T9">
                <a:pos x="T2" y="T3"/>
              </a:cxn>
              <a:cxn ang="T10">
                <a:pos x="T4" y="T5"/>
              </a:cxn>
              <a:cxn ang="T11">
                <a:pos x="T6" y="T7"/>
              </a:cxn>
            </a:cxnLst>
            <a:rect l="T12" t="T13" r="T14" b="T15"/>
            <a:pathLst>
              <a:path w="222250" h="1098550">
                <a:moveTo>
                  <a:pt x="190500" y="0"/>
                </a:moveTo>
                <a:lnTo>
                  <a:pt x="0" y="736600"/>
                </a:lnTo>
                <a:lnTo>
                  <a:pt x="222250" y="1098550"/>
                </a:lnTo>
                <a:lnTo>
                  <a:pt x="190500" y="0"/>
                </a:lnTo>
                <a:close/>
              </a:path>
            </a:pathLst>
          </a:custGeom>
          <a:solidFill>
            <a:srgbClr val="EC25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任意多边形 17"/>
          <p:cNvSpPr>
            <a:spLocks noChangeArrowheads="1"/>
          </p:cNvSpPr>
          <p:nvPr/>
        </p:nvSpPr>
        <p:spPr bwMode="auto">
          <a:xfrm>
            <a:off x="2406650" y="-158750"/>
            <a:ext cx="825500" cy="1244600"/>
          </a:xfrm>
          <a:custGeom>
            <a:avLst/>
            <a:gdLst>
              <a:gd name="T0" fmla="*/ 679450 w 825500"/>
              <a:gd name="T1" fmla="*/ 0 h 1244600"/>
              <a:gd name="T2" fmla="*/ 825500 w 825500"/>
              <a:gd name="T3" fmla="*/ 1244600 h 1244600"/>
              <a:gd name="T4" fmla="*/ 0 w 825500"/>
              <a:gd name="T5" fmla="*/ 819150 h 1244600"/>
              <a:gd name="T6" fmla="*/ 679450 w 825500"/>
              <a:gd name="T7" fmla="*/ 0 h 1244600"/>
              <a:gd name="T8" fmla="*/ 0 60000 65536"/>
              <a:gd name="T9" fmla="*/ 0 60000 65536"/>
              <a:gd name="T10" fmla="*/ 0 60000 65536"/>
              <a:gd name="T11" fmla="*/ 0 60000 65536"/>
              <a:gd name="T12" fmla="*/ 0 w 825500"/>
              <a:gd name="T13" fmla="*/ 0 h 1244600"/>
              <a:gd name="T14" fmla="*/ 825500 w 825500"/>
              <a:gd name="T15" fmla="*/ 1244600 h 1244600"/>
            </a:gdLst>
            <a:ahLst/>
            <a:cxnLst>
              <a:cxn ang="T8">
                <a:pos x="T0" y="T1"/>
              </a:cxn>
              <a:cxn ang="T9">
                <a:pos x="T2" y="T3"/>
              </a:cxn>
              <a:cxn ang="T10">
                <a:pos x="T4" y="T5"/>
              </a:cxn>
              <a:cxn ang="T11">
                <a:pos x="T6" y="T7"/>
              </a:cxn>
            </a:cxnLst>
            <a:rect l="T12" t="T13" r="T14" b="T15"/>
            <a:pathLst>
              <a:path w="825500" h="1244600">
                <a:moveTo>
                  <a:pt x="679450" y="0"/>
                </a:moveTo>
                <a:lnTo>
                  <a:pt x="825500" y="1244600"/>
                </a:lnTo>
                <a:lnTo>
                  <a:pt x="0" y="819150"/>
                </a:lnTo>
                <a:lnTo>
                  <a:pt x="679450" y="0"/>
                </a:lnTo>
                <a:close/>
              </a:path>
            </a:pathLst>
          </a:custGeom>
          <a:solidFill>
            <a:srgbClr val="4DC4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任意多边形 24"/>
          <p:cNvSpPr>
            <a:spLocks noChangeArrowheads="1"/>
          </p:cNvSpPr>
          <p:nvPr/>
        </p:nvSpPr>
        <p:spPr bwMode="auto">
          <a:xfrm>
            <a:off x="3067050" y="1600200"/>
            <a:ext cx="590550" cy="717550"/>
          </a:xfrm>
          <a:custGeom>
            <a:avLst/>
            <a:gdLst>
              <a:gd name="T0" fmla="*/ 590550 w 590550"/>
              <a:gd name="T1" fmla="*/ 0 h 717550"/>
              <a:gd name="T2" fmla="*/ 412750 w 590550"/>
              <a:gd name="T3" fmla="*/ 717550 h 717550"/>
              <a:gd name="T4" fmla="*/ 0 w 590550"/>
              <a:gd name="T5" fmla="*/ 635000 h 717550"/>
              <a:gd name="T6" fmla="*/ 590550 w 590550"/>
              <a:gd name="T7" fmla="*/ 0 h 717550"/>
              <a:gd name="T8" fmla="*/ 0 60000 65536"/>
              <a:gd name="T9" fmla="*/ 0 60000 65536"/>
              <a:gd name="T10" fmla="*/ 0 60000 65536"/>
              <a:gd name="T11" fmla="*/ 0 60000 65536"/>
              <a:gd name="T12" fmla="*/ 0 w 590550"/>
              <a:gd name="T13" fmla="*/ 0 h 717550"/>
              <a:gd name="T14" fmla="*/ 590550 w 590550"/>
              <a:gd name="T15" fmla="*/ 717550 h 717550"/>
            </a:gdLst>
            <a:ahLst/>
            <a:cxnLst>
              <a:cxn ang="T8">
                <a:pos x="T0" y="T1"/>
              </a:cxn>
              <a:cxn ang="T9">
                <a:pos x="T2" y="T3"/>
              </a:cxn>
              <a:cxn ang="T10">
                <a:pos x="T4" y="T5"/>
              </a:cxn>
              <a:cxn ang="T11">
                <a:pos x="T6" y="T7"/>
              </a:cxn>
            </a:cxnLst>
            <a:rect l="T12" t="T13" r="T14" b="T15"/>
            <a:pathLst>
              <a:path w="590550" h="717550">
                <a:moveTo>
                  <a:pt x="590550" y="0"/>
                </a:moveTo>
                <a:lnTo>
                  <a:pt x="412750" y="717550"/>
                </a:lnTo>
                <a:lnTo>
                  <a:pt x="0" y="635000"/>
                </a:lnTo>
                <a:lnTo>
                  <a:pt x="590550" y="0"/>
                </a:lnTo>
                <a:close/>
              </a:path>
            </a:pathLst>
          </a:custGeom>
          <a:solidFill>
            <a:srgbClr val="1AA8B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3" name="任意多边形 28"/>
          <p:cNvSpPr>
            <a:spLocks noChangeArrowheads="1"/>
          </p:cNvSpPr>
          <p:nvPr/>
        </p:nvSpPr>
        <p:spPr bwMode="auto">
          <a:xfrm>
            <a:off x="3073400" y="2241550"/>
            <a:ext cx="609600" cy="1295400"/>
          </a:xfrm>
          <a:custGeom>
            <a:avLst/>
            <a:gdLst>
              <a:gd name="T0" fmla="*/ 0 w 609600"/>
              <a:gd name="T1" fmla="*/ 0 h 1295400"/>
              <a:gd name="T2" fmla="*/ 609600 w 609600"/>
              <a:gd name="T3" fmla="*/ 431800 h 1295400"/>
              <a:gd name="T4" fmla="*/ 527050 w 609600"/>
              <a:gd name="T5" fmla="*/ 1295400 h 1295400"/>
              <a:gd name="T6" fmla="*/ 0 w 609600"/>
              <a:gd name="T7" fmla="*/ 0 h 1295400"/>
              <a:gd name="T8" fmla="*/ 0 60000 65536"/>
              <a:gd name="T9" fmla="*/ 0 60000 65536"/>
              <a:gd name="T10" fmla="*/ 0 60000 65536"/>
              <a:gd name="T11" fmla="*/ 0 60000 65536"/>
              <a:gd name="T12" fmla="*/ 0 w 609600"/>
              <a:gd name="T13" fmla="*/ 0 h 1295400"/>
              <a:gd name="T14" fmla="*/ 609600 w 609600"/>
              <a:gd name="T15" fmla="*/ 1295400 h 1295400"/>
            </a:gdLst>
            <a:ahLst/>
            <a:cxnLst>
              <a:cxn ang="T8">
                <a:pos x="T0" y="T1"/>
              </a:cxn>
              <a:cxn ang="T9">
                <a:pos x="T2" y="T3"/>
              </a:cxn>
              <a:cxn ang="T10">
                <a:pos x="T4" y="T5"/>
              </a:cxn>
              <a:cxn ang="T11">
                <a:pos x="T6" y="T7"/>
              </a:cxn>
            </a:cxnLst>
            <a:rect l="T12" t="T13" r="T14" b="T15"/>
            <a:pathLst>
              <a:path w="609600" h="1295400">
                <a:moveTo>
                  <a:pt x="0" y="0"/>
                </a:moveTo>
                <a:lnTo>
                  <a:pt x="609600" y="431800"/>
                </a:lnTo>
                <a:lnTo>
                  <a:pt x="527050" y="1295400"/>
                </a:lnTo>
                <a:lnTo>
                  <a:pt x="0" y="0"/>
                </a:lnTo>
                <a:close/>
              </a:path>
            </a:pathLst>
          </a:custGeom>
          <a:solidFill>
            <a:srgbClr val="F5942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任意多边形 30"/>
          <p:cNvSpPr>
            <a:spLocks noChangeArrowheads="1"/>
          </p:cNvSpPr>
          <p:nvPr/>
        </p:nvSpPr>
        <p:spPr bwMode="auto">
          <a:xfrm>
            <a:off x="3086100" y="2273300"/>
            <a:ext cx="654050" cy="1828800"/>
          </a:xfrm>
          <a:custGeom>
            <a:avLst/>
            <a:gdLst>
              <a:gd name="T0" fmla="*/ 0 w 654050"/>
              <a:gd name="T1" fmla="*/ 0 h 1828800"/>
              <a:gd name="T2" fmla="*/ 171450 w 654050"/>
              <a:gd name="T3" fmla="*/ 1295400 h 1828800"/>
              <a:gd name="T4" fmla="*/ 654050 w 654050"/>
              <a:gd name="T5" fmla="*/ 1828800 h 1828800"/>
              <a:gd name="T6" fmla="*/ 520700 w 654050"/>
              <a:gd name="T7" fmla="*/ 1250950 h 1828800"/>
              <a:gd name="T8" fmla="*/ 0 w 654050"/>
              <a:gd name="T9" fmla="*/ 0 h 1828800"/>
              <a:gd name="T10" fmla="*/ 0 60000 65536"/>
              <a:gd name="T11" fmla="*/ 0 60000 65536"/>
              <a:gd name="T12" fmla="*/ 0 60000 65536"/>
              <a:gd name="T13" fmla="*/ 0 60000 65536"/>
              <a:gd name="T14" fmla="*/ 0 60000 65536"/>
              <a:gd name="T15" fmla="*/ 0 w 654050"/>
              <a:gd name="T16" fmla="*/ 0 h 1828800"/>
              <a:gd name="T17" fmla="*/ 654050 w 654050"/>
              <a:gd name="T18" fmla="*/ 1828800 h 1828800"/>
            </a:gdLst>
            <a:ahLst/>
            <a:cxnLst>
              <a:cxn ang="T10">
                <a:pos x="T0" y="T1"/>
              </a:cxn>
              <a:cxn ang="T11">
                <a:pos x="T2" y="T3"/>
              </a:cxn>
              <a:cxn ang="T12">
                <a:pos x="T4" y="T5"/>
              </a:cxn>
              <a:cxn ang="T13">
                <a:pos x="T6" y="T7"/>
              </a:cxn>
              <a:cxn ang="T14">
                <a:pos x="T8" y="T9"/>
              </a:cxn>
            </a:cxnLst>
            <a:rect l="T15" t="T16" r="T17" b="T18"/>
            <a:pathLst>
              <a:path w="654050" h="1828800">
                <a:moveTo>
                  <a:pt x="0" y="0"/>
                </a:moveTo>
                <a:lnTo>
                  <a:pt x="171450" y="1295400"/>
                </a:lnTo>
                <a:lnTo>
                  <a:pt x="654050" y="1828800"/>
                </a:lnTo>
                <a:lnTo>
                  <a:pt x="520700" y="1250950"/>
                </a:lnTo>
                <a:lnTo>
                  <a:pt x="0" y="0"/>
                </a:lnTo>
                <a:close/>
              </a:path>
            </a:pathLst>
          </a:cu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5" name="任意多边形 31"/>
          <p:cNvSpPr>
            <a:spLocks noChangeArrowheads="1"/>
          </p:cNvSpPr>
          <p:nvPr/>
        </p:nvSpPr>
        <p:spPr bwMode="auto">
          <a:xfrm>
            <a:off x="3581400" y="2673350"/>
            <a:ext cx="692150" cy="965200"/>
          </a:xfrm>
          <a:custGeom>
            <a:avLst/>
            <a:gdLst>
              <a:gd name="T0" fmla="*/ 101600 w 692150"/>
              <a:gd name="T1" fmla="*/ 0 h 958850"/>
              <a:gd name="T2" fmla="*/ 0 w 692150"/>
              <a:gd name="T3" fmla="*/ 850900 h 958850"/>
              <a:gd name="T4" fmla="*/ 692150 w 692150"/>
              <a:gd name="T5" fmla="*/ 958850 h 958850"/>
              <a:gd name="T6" fmla="*/ 101600 w 692150"/>
              <a:gd name="T7" fmla="*/ 0 h 958850"/>
              <a:gd name="T8" fmla="*/ 0 60000 65536"/>
              <a:gd name="T9" fmla="*/ 0 60000 65536"/>
              <a:gd name="T10" fmla="*/ 0 60000 65536"/>
              <a:gd name="T11" fmla="*/ 0 60000 65536"/>
              <a:gd name="T12" fmla="*/ 0 w 692150"/>
              <a:gd name="T13" fmla="*/ 0 h 958850"/>
              <a:gd name="T14" fmla="*/ 692150 w 692150"/>
              <a:gd name="T15" fmla="*/ 958850 h 958850"/>
            </a:gdLst>
            <a:ahLst/>
            <a:cxnLst>
              <a:cxn ang="T8">
                <a:pos x="T0" y="T1"/>
              </a:cxn>
              <a:cxn ang="T9">
                <a:pos x="T2" y="T3"/>
              </a:cxn>
              <a:cxn ang="T10">
                <a:pos x="T4" y="T5"/>
              </a:cxn>
              <a:cxn ang="T11">
                <a:pos x="T6" y="T7"/>
              </a:cxn>
            </a:cxnLst>
            <a:rect l="T12" t="T13" r="T14" b="T15"/>
            <a:pathLst>
              <a:path w="692150" h="958850">
                <a:moveTo>
                  <a:pt x="101600" y="0"/>
                </a:moveTo>
                <a:lnTo>
                  <a:pt x="0" y="850900"/>
                </a:lnTo>
                <a:lnTo>
                  <a:pt x="692150" y="958850"/>
                </a:lnTo>
                <a:lnTo>
                  <a:pt x="101600" y="0"/>
                </a:lnTo>
                <a:close/>
              </a:path>
            </a:pathLst>
          </a:custGeom>
          <a:solidFill>
            <a:srgbClr val="F8A11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6" name="任意多边形 32"/>
          <p:cNvSpPr>
            <a:spLocks noChangeArrowheads="1"/>
          </p:cNvSpPr>
          <p:nvPr/>
        </p:nvSpPr>
        <p:spPr bwMode="auto">
          <a:xfrm>
            <a:off x="3683000" y="2667000"/>
            <a:ext cx="571500" cy="984250"/>
          </a:xfrm>
          <a:custGeom>
            <a:avLst/>
            <a:gdLst>
              <a:gd name="T0" fmla="*/ 0 w 596900"/>
              <a:gd name="T1" fmla="*/ 0 h 965200"/>
              <a:gd name="T2" fmla="*/ 349250 w 596900"/>
              <a:gd name="T3" fmla="*/ 38100 h 965200"/>
              <a:gd name="T4" fmla="*/ 596900 w 596900"/>
              <a:gd name="T5" fmla="*/ 965200 h 965200"/>
              <a:gd name="T6" fmla="*/ 0 w 596900"/>
              <a:gd name="T7" fmla="*/ 0 h 965200"/>
              <a:gd name="T8" fmla="*/ 0 60000 65536"/>
              <a:gd name="T9" fmla="*/ 0 60000 65536"/>
              <a:gd name="T10" fmla="*/ 0 60000 65536"/>
              <a:gd name="T11" fmla="*/ 0 60000 65536"/>
              <a:gd name="T12" fmla="*/ 0 w 596900"/>
              <a:gd name="T13" fmla="*/ 0 h 965200"/>
              <a:gd name="T14" fmla="*/ 596900 w 596900"/>
              <a:gd name="T15" fmla="*/ 965200 h 965200"/>
            </a:gdLst>
            <a:ahLst/>
            <a:cxnLst>
              <a:cxn ang="T8">
                <a:pos x="T0" y="T1"/>
              </a:cxn>
              <a:cxn ang="T9">
                <a:pos x="T2" y="T3"/>
              </a:cxn>
              <a:cxn ang="T10">
                <a:pos x="T4" y="T5"/>
              </a:cxn>
              <a:cxn ang="T11">
                <a:pos x="T6" y="T7"/>
              </a:cxn>
            </a:cxnLst>
            <a:rect l="T12" t="T13" r="T14" b="T15"/>
            <a:pathLst>
              <a:path w="596900" h="965200">
                <a:moveTo>
                  <a:pt x="0" y="0"/>
                </a:moveTo>
                <a:lnTo>
                  <a:pt x="349250" y="38100"/>
                </a:lnTo>
                <a:lnTo>
                  <a:pt x="596900" y="965200"/>
                </a:lnTo>
                <a:lnTo>
                  <a:pt x="0" y="0"/>
                </a:lnTo>
                <a:close/>
              </a:path>
            </a:pathLst>
          </a:custGeom>
          <a:solidFill>
            <a:srgbClr val="250D0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7" name="任意多边形 33"/>
          <p:cNvSpPr>
            <a:spLocks noChangeArrowheads="1"/>
          </p:cNvSpPr>
          <p:nvPr/>
        </p:nvSpPr>
        <p:spPr bwMode="auto">
          <a:xfrm>
            <a:off x="3587750" y="3492500"/>
            <a:ext cx="698500" cy="660400"/>
          </a:xfrm>
          <a:custGeom>
            <a:avLst/>
            <a:gdLst>
              <a:gd name="T0" fmla="*/ 0 w 698500"/>
              <a:gd name="T1" fmla="*/ 0 h 609600"/>
              <a:gd name="T2" fmla="*/ 146050 w 698500"/>
              <a:gd name="T3" fmla="*/ 609600 h 609600"/>
              <a:gd name="T4" fmla="*/ 698500 w 698500"/>
              <a:gd name="T5" fmla="*/ 139700 h 609600"/>
              <a:gd name="T6" fmla="*/ 0 w 698500"/>
              <a:gd name="T7" fmla="*/ 0 h 609600"/>
              <a:gd name="T8" fmla="*/ 0 60000 65536"/>
              <a:gd name="T9" fmla="*/ 0 60000 65536"/>
              <a:gd name="T10" fmla="*/ 0 60000 65536"/>
              <a:gd name="T11" fmla="*/ 0 60000 65536"/>
              <a:gd name="T12" fmla="*/ 0 w 698500"/>
              <a:gd name="T13" fmla="*/ 0 h 609600"/>
              <a:gd name="T14" fmla="*/ 698500 w 698500"/>
              <a:gd name="T15" fmla="*/ 609600 h 609600"/>
            </a:gdLst>
            <a:ahLst/>
            <a:cxnLst>
              <a:cxn ang="T8">
                <a:pos x="T0" y="T1"/>
              </a:cxn>
              <a:cxn ang="T9">
                <a:pos x="T2" y="T3"/>
              </a:cxn>
              <a:cxn ang="T10">
                <a:pos x="T4" y="T5"/>
              </a:cxn>
              <a:cxn ang="T11">
                <a:pos x="T6" y="T7"/>
              </a:cxn>
            </a:cxnLst>
            <a:rect l="T12" t="T13" r="T14" b="T15"/>
            <a:pathLst>
              <a:path w="698500" h="609600">
                <a:moveTo>
                  <a:pt x="0" y="0"/>
                </a:moveTo>
                <a:lnTo>
                  <a:pt x="146050" y="609600"/>
                </a:lnTo>
                <a:lnTo>
                  <a:pt x="698500" y="139700"/>
                </a:lnTo>
                <a:lnTo>
                  <a:pt x="0" y="0"/>
                </a:lnTo>
                <a:close/>
              </a:path>
            </a:pathLst>
          </a:custGeom>
          <a:solidFill>
            <a:srgbClr val="EE592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8" name="任意多边形 34"/>
          <p:cNvSpPr>
            <a:spLocks noChangeArrowheads="1"/>
          </p:cNvSpPr>
          <p:nvPr/>
        </p:nvSpPr>
        <p:spPr bwMode="auto">
          <a:xfrm>
            <a:off x="3251200" y="3556000"/>
            <a:ext cx="495300" cy="1016000"/>
          </a:xfrm>
          <a:custGeom>
            <a:avLst/>
            <a:gdLst>
              <a:gd name="T0" fmla="*/ 0 w 495300"/>
              <a:gd name="T1" fmla="*/ 0 h 1016000"/>
              <a:gd name="T2" fmla="*/ 495300 w 495300"/>
              <a:gd name="T3" fmla="*/ 533400 h 1016000"/>
              <a:gd name="T4" fmla="*/ 336550 w 495300"/>
              <a:gd name="T5" fmla="*/ 1016000 h 1016000"/>
              <a:gd name="T6" fmla="*/ 0 w 495300"/>
              <a:gd name="T7" fmla="*/ 0 h 1016000"/>
              <a:gd name="T8" fmla="*/ 0 60000 65536"/>
              <a:gd name="T9" fmla="*/ 0 60000 65536"/>
              <a:gd name="T10" fmla="*/ 0 60000 65536"/>
              <a:gd name="T11" fmla="*/ 0 60000 65536"/>
              <a:gd name="T12" fmla="*/ 0 w 495300"/>
              <a:gd name="T13" fmla="*/ 0 h 1016000"/>
              <a:gd name="T14" fmla="*/ 495300 w 495300"/>
              <a:gd name="T15" fmla="*/ 1016000 h 1016000"/>
            </a:gdLst>
            <a:ahLst/>
            <a:cxnLst>
              <a:cxn ang="T8">
                <a:pos x="T0" y="T1"/>
              </a:cxn>
              <a:cxn ang="T9">
                <a:pos x="T2" y="T3"/>
              </a:cxn>
              <a:cxn ang="T10">
                <a:pos x="T4" y="T5"/>
              </a:cxn>
              <a:cxn ang="T11">
                <a:pos x="T6" y="T7"/>
              </a:cxn>
            </a:cxnLst>
            <a:rect l="T12" t="T13" r="T14" b="T15"/>
            <a:pathLst>
              <a:path w="495300" h="1016000">
                <a:moveTo>
                  <a:pt x="0" y="0"/>
                </a:moveTo>
                <a:lnTo>
                  <a:pt x="495300" y="533400"/>
                </a:lnTo>
                <a:lnTo>
                  <a:pt x="336550" y="1016000"/>
                </a:lnTo>
                <a:lnTo>
                  <a:pt x="0" y="0"/>
                </a:lnTo>
                <a:close/>
              </a:path>
            </a:pathLst>
          </a:custGeom>
          <a:solidFill>
            <a:srgbClr val="ED702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9" name="任意多边形 35"/>
          <p:cNvSpPr>
            <a:spLocks noChangeArrowheads="1"/>
          </p:cNvSpPr>
          <p:nvPr/>
        </p:nvSpPr>
        <p:spPr bwMode="auto">
          <a:xfrm>
            <a:off x="3594100" y="3638550"/>
            <a:ext cx="711200" cy="914400"/>
          </a:xfrm>
          <a:custGeom>
            <a:avLst/>
            <a:gdLst>
              <a:gd name="T0" fmla="*/ 146050 w 711200"/>
              <a:gd name="T1" fmla="*/ 444500 h 914400"/>
              <a:gd name="T2" fmla="*/ 711200 w 711200"/>
              <a:gd name="T3" fmla="*/ 0 h 914400"/>
              <a:gd name="T4" fmla="*/ 0 w 711200"/>
              <a:gd name="T5" fmla="*/ 914400 h 914400"/>
              <a:gd name="T6" fmla="*/ 146050 w 711200"/>
              <a:gd name="T7" fmla="*/ 444500 h 914400"/>
              <a:gd name="T8" fmla="*/ 0 60000 65536"/>
              <a:gd name="T9" fmla="*/ 0 60000 65536"/>
              <a:gd name="T10" fmla="*/ 0 60000 65536"/>
              <a:gd name="T11" fmla="*/ 0 60000 65536"/>
              <a:gd name="T12" fmla="*/ 0 w 711200"/>
              <a:gd name="T13" fmla="*/ 0 h 914400"/>
              <a:gd name="T14" fmla="*/ 711200 w 711200"/>
              <a:gd name="T15" fmla="*/ 914400 h 914400"/>
            </a:gdLst>
            <a:ahLst/>
            <a:cxnLst>
              <a:cxn ang="T8">
                <a:pos x="T0" y="T1"/>
              </a:cxn>
              <a:cxn ang="T9">
                <a:pos x="T2" y="T3"/>
              </a:cxn>
              <a:cxn ang="T10">
                <a:pos x="T4" y="T5"/>
              </a:cxn>
              <a:cxn ang="T11">
                <a:pos x="T6" y="T7"/>
              </a:cxn>
            </a:cxnLst>
            <a:rect l="T12" t="T13" r="T14" b="T15"/>
            <a:pathLst>
              <a:path w="711200" h="914400">
                <a:moveTo>
                  <a:pt x="146050" y="444500"/>
                </a:moveTo>
                <a:lnTo>
                  <a:pt x="711200" y="0"/>
                </a:lnTo>
                <a:lnTo>
                  <a:pt x="0" y="914400"/>
                </a:lnTo>
                <a:lnTo>
                  <a:pt x="146050" y="444500"/>
                </a:lnTo>
                <a:close/>
              </a:path>
            </a:pathLst>
          </a:custGeom>
          <a:solidFill>
            <a:srgbClr val="E7303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0" name="任意多边形 36"/>
          <p:cNvSpPr>
            <a:spLocks noChangeArrowheads="1"/>
          </p:cNvSpPr>
          <p:nvPr/>
        </p:nvSpPr>
        <p:spPr bwMode="auto">
          <a:xfrm>
            <a:off x="3930650" y="3644900"/>
            <a:ext cx="546100" cy="431800"/>
          </a:xfrm>
          <a:custGeom>
            <a:avLst/>
            <a:gdLst>
              <a:gd name="T0" fmla="*/ 0 w 488950"/>
              <a:gd name="T1" fmla="*/ 431800 h 431800"/>
              <a:gd name="T2" fmla="*/ 488950 w 488950"/>
              <a:gd name="T3" fmla="*/ 425450 h 431800"/>
              <a:gd name="T4" fmla="*/ 311150 w 488950"/>
              <a:gd name="T5" fmla="*/ 0 h 431800"/>
              <a:gd name="T6" fmla="*/ 0 w 488950"/>
              <a:gd name="T7" fmla="*/ 431800 h 431800"/>
              <a:gd name="T8" fmla="*/ 0 60000 65536"/>
              <a:gd name="T9" fmla="*/ 0 60000 65536"/>
              <a:gd name="T10" fmla="*/ 0 60000 65536"/>
              <a:gd name="T11" fmla="*/ 0 60000 65536"/>
              <a:gd name="T12" fmla="*/ 0 w 488950"/>
              <a:gd name="T13" fmla="*/ 0 h 431800"/>
              <a:gd name="T14" fmla="*/ 488950 w 488950"/>
              <a:gd name="T15" fmla="*/ 431800 h 431800"/>
            </a:gdLst>
            <a:ahLst/>
            <a:cxnLst>
              <a:cxn ang="T8">
                <a:pos x="T0" y="T1"/>
              </a:cxn>
              <a:cxn ang="T9">
                <a:pos x="T2" y="T3"/>
              </a:cxn>
              <a:cxn ang="T10">
                <a:pos x="T4" y="T5"/>
              </a:cxn>
              <a:cxn ang="T11">
                <a:pos x="T6" y="T7"/>
              </a:cxn>
            </a:cxnLst>
            <a:rect l="T12" t="T13" r="T14" b="T15"/>
            <a:pathLst>
              <a:path w="488950" h="431800">
                <a:moveTo>
                  <a:pt x="0" y="431800"/>
                </a:moveTo>
                <a:lnTo>
                  <a:pt x="488950" y="425450"/>
                </a:lnTo>
                <a:lnTo>
                  <a:pt x="311150" y="0"/>
                </a:lnTo>
                <a:lnTo>
                  <a:pt x="0" y="431800"/>
                </a:lnTo>
                <a:close/>
              </a:path>
            </a:pathLst>
          </a:custGeom>
          <a:solidFill>
            <a:srgbClr val="B71C3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1" name="任意多边形 39"/>
          <p:cNvSpPr>
            <a:spLocks noChangeArrowheads="1"/>
          </p:cNvSpPr>
          <p:nvPr/>
        </p:nvSpPr>
        <p:spPr bwMode="auto">
          <a:xfrm>
            <a:off x="3575050" y="4121150"/>
            <a:ext cx="679450" cy="711200"/>
          </a:xfrm>
          <a:custGeom>
            <a:avLst/>
            <a:gdLst>
              <a:gd name="T0" fmla="*/ 355600 w 679450"/>
              <a:gd name="T1" fmla="*/ 0 h 711200"/>
              <a:gd name="T2" fmla="*/ 679450 w 679450"/>
              <a:gd name="T3" fmla="*/ 711200 h 711200"/>
              <a:gd name="T4" fmla="*/ 0 w 679450"/>
              <a:gd name="T5" fmla="*/ 450850 h 711200"/>
              <a:gd name="T6" fmla="*/ 355600 w 679450"/>
              <a:gd name="T7" fmla="*/ 0 h 711200"/>
              <a:gd name="T8" fmla="*/ 0 60000 65536"/>
              <a:gd name="T9" fmla="*/ 0 60000 65536"/>
              <a:gd name="T10" fmla="*/ 0 60000 65536"/>
              <a:gd name="T11" fmla="*/ 0 60000 65536"/>
              <a:gd name="T12" fmla="*/ 0 w 679450"/>
              <a:gd name="T13" fmla="*/ 0 h 711200"/>
              <a:gd name="T14" fmla="*/ 679450 w 679450"/>
              <a:gd name="T15" fmla="*/ 711200 h 711200"/>
            </a:gdLst>
            <a:ahLst/>
            <a:cxnLst>
              <a:cxn ang="T8">
                <a:pos x="T0" y="T1"/>
              </a:cxn>
              <a:cxn ang="T9">
                <a:pos x="T2" y="T3"/>
              </a:cxn>
              <a:cxn ang="T10">
                <a:pos x="T4" y="T5"/>
              </a:cxn>
              <a:cxn ang="T11">
                <a:pos x="T6" y="T7"/>
              </a:cxn>
            </a:cxnLst>
            <a:rect l="T12" t="T13" r="T14" b="T15"/>
            <a:pathLst>
              <a:path w="679450" h="711200">
                <a:moveTo>
                  <a:pt x="355600" y="0"/>
                </a:moveTo>
                <a:lnTo>
                  <a:pt x="679450" y="711200"/>
                </a:lnTo>
                <a:lnTo>
                  <a:pt x="0" y="450850"/>
                </a:lnTo>
                <a:lnTo>
                  <a:pt x="355600" y="0"/>
                </a:lnTo>
                <a:close/>
              </a:path>
            </a:pathLst>
          </a:custGeom>
          <a:solidFill>
            <a:srgbClr val="C41F3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2" name="任意多边形 42"/>
          <p:cNvSpPr>
            <a:spLocks noChangeArrowheads="1"/>
          </p:cNvSpPr>
          <p:nvPr/>
        </p:nvSpPr>
        <p:spPr bwMode="auto">
          <a:xfrm>
            <a:off x="3905250" y="4076700"/>
            <a:ext cx="882650" cy="736600"/>
          </a:xfrm>
          <a:custGeom>
            <a:avLst/>
            <a:gdLst>
              <a:gd name="T0" fmla="*/ 0 w 844550"/>
              <a:gd name="T1" fmla="*/ 0 h 736600"/>
              <a:gd name="T2" fmla="*/ 844550 w 844550"/>
              <a:gd name="T3" fmla="*/ 736600 h 736600"/>
              <a:gd name="T4" fmla="*/ 685800 w 844550"/>
              <a:gd name="T5" fmla="*/ 323850 h 736600"/>
              <a:gd name="T6" fmla="*/ 0 w 844550"/>
              <a:gd name="T7" fmla="*/ 0 h 736600"/>
              <a:gd name="T8" fmla="*/ 0 60000 65536"/>
              <a:gd name="T9" fmla="*/ 0 60000 65536"/>
              <a:gd name="T10" fmla="*/ 0 60000 65536"/>
              <a:gd name="T11" fmla="*/ 0 60000 65536"/>
              <a:gd name="T12" fmla="*/ 0 w 844550"/>
              <a:gd name="T13" fmla="*/ 0 h 736600"/>
              <a:gd name="T14" fmla="*/ 844550 w 844550"/>
              <a:gd name="T15" fmla="*/ 736600 h 736600"/>
            </a:gdLst>
            <a:ahLst/>
            <a:cxnLst>
              <a:cxn ang="T8">
                <a:pos x="T0" y="T1"/>
              </a:cxn>
              <a:cxn ang="T9">
                <a:pos x="T2" y="T3"/>
              </a:cxn>
              <a:cxn ang="T10">
                <a:pos x="T4" y="T5"/>
              </a:cxn>
              <a:cxn ang="T11">
                <a:pos x="T6" y="T7"/>
              </a:cxn>
            </a:cxnLst>
            <a:rect l="T12" t="T13" r="T14" b="T15"/>
            <a:pathLst>
              <a:path w="844550" h="736600">
                <a:moveTo>
                  <a:pt x="0" y="0"/>
                </a:moveTo>
                <a:lnTo>
                  <a:pt x="844550" y="736600"/>
                </a:lnTo>
                <a:lnTo>
                  <a:pt x="685800" y="323850"/>
                </a:lnTo>
                <a:lnTo>
                  <a:pt x="0" y="0"/>
                </a:lnTo>
                <a:close/>
              </a:path>
            </a:pathLst>
          </a:custGeom>
          <a:solidFill>
            <a:srgbClr val="F4552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任意多边形 43"/>
          <p:cNvSpPr>
            <a:spLocks noChangeArrowheads="1"/>
          </p:cNvSpPr>
          <p:nvPr/>
        </p:nvSpPr>
        <p:spPr bwMode="auto">
          <a:xfrm>
            <a:off x="3321050" y="4832350"/>
            <a:ext cx="1098550" cy="336550"/>
          </a:xfrm>
          <a:custGeom>
            <a:avLst/>
            <a:gdLst>
              <a:gd name="T0" fmla="*/ 0 w 1098550"/>
              <a:gd name="T1" fmla="*/ 101600 h 336550"/>
              <a:gd name="T2" fmla="*/ 946150 w 1098550"/>
              <a:gd name="T3" fmla="*/ 0 h 336550"/>
              <a:gd name="T4" fmla="*/ 1098550 w 1098550"/>
              <a:gd name="T5" fmla="*/ 336550 h 336550"/>
              <a:gd name="T6" fmla="*/ 0 w 1098550"/>
              <a:gd name="T7" fmla="*/ 101600 h 336550"/>
              <a:gd name="T8" fmla="*/ 0 60000 65536"/>
              <a:gd name="T9" fmla="*/ 0 60000 65536"/>
              <a:gd name="T10" fmla="*/ 0 60000 65536"/>
              <a:gd name="T11" fmla="*/ 0 60000 65536"/>
              <a:gd name="T12" fmla="*/ 0 w 1098550"/>
              <a:gd name="T13" fmla="*/ 0 h 336550"/>
              <a:gd name="T14" fmla="*/ 1098550 w 1098550"/>
              <a:gd name="T15" fmla="*/ 336550 h 336550"/>
            </a:gdLst>
            <a:ahLst/>
            <a:cxnLst>
              <a:cxn ang="T8">
                <a:pos x="T0" y="T1"/>
              </a:cxn>
              <a:cxn ang="T9">
                <a:pos x="T2" y="T3"/>
              </a:cxn>
              <a:cxn ang="T10">
                <a:pos x="T4" y="T5"/>
              </a:cxn>
              <a:cxn ang="T11">
                <a:pos x="T6" y="T7"/>
              </a:cxn>
            </a:cxnLst>
            <a:rect l="T12" t="T13" r="T14" b="T15"/>
            <a:pathLst>
              <a:path w="1098550" h="336550">
                <a:moveTo>
                  <a:pt x="0" y="101600"/>
                </a:moveTo>
                <a:lnTo>
                  <a:pt x="946150" y="0"/>
                </a:lnTo>
                <a:lnTo>
                  <a:pt x="1098550" y="336550"/>
                </a:lnTo>
                <a:lnTo>
                  <a:pt x="0" y="101600"/>
                </a:lnTo>
                <a:close/>
              </a:path>
            </a:pathLst>
          </a:custGeom>
          <a:solidFill>
            <a:srgbClr val="F66E2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4" name="任意多边形 47"/>
          <p:cNvSpPr>
            <a:spLocks noChangeArrowheads="1"/>
          </p:cNvSpPr>
          <p:nvPr/>
        </p:nvSpPr>
        <p:spPr bwMode="auto">
          <a:xfrm>
            <a:off x="4254500" y="4813300"/>
            <a:ext cx="539750" cy="381000"/>
          </a:xfrm>
          <a:custGeom>
            <a:avLst/>
            <a:gdLst>
              <a:gd name="T0" fmla="*/ 0 w 520700"/>
              <a:gd name="T1" fmla="*/ 6350 h 355600"/>
              <a:gd name="T2" fmla="*/ 520700 w 520700"/>
              <a:gd name="T3" fmla="*/ 0 h 355600"/>
              <a:gd name="T4" fmla="*/ 171450 w 520700"/>
              <a:gd name="T5" fmla="*/ 355600 h 355600"/>
              <a:gd name="T6" fmla="*/ 0 w 520700"/>
              <a:gd name="T7" fmla="*/ 6350 h 355600"/>
              <a:gd name="T8" fmla="*/ 0 60000 65536"/>
              <a:gd name="T9" fmla="*/ 0 60000 65536"/>
              <a:gd name="T10" fmla="*/ 0 60000 65536"/>
              <a:gd name="T11" fmla="*/ 0 60000 65536"/>
              <a:gd name="T12" fmla="*/ 0 w 520700"/>
              <a:gd name="T13" fmla="*/ 0 h 355600"/>
              <a:gd name="T14" fmla="*/ 520700 w 520700"/>
              <a:gd name="T15" fmla="*/ 355600 h 355600"/>
            </a:gdLst>
            <a:ahLst/>
            <a:cxnLst>
              <a:cxn ang="T8">
                <a:pos x="T0" y="T1"/>
              </a:cxn>
              <a:cxn ang="T9">
                <a:pos x="T2" y="T3"/>
              </a:cxn>
              <a:cxn ang="T10">
                <a:pos x="T4" y="T5"/>
              </a:cxn>
              <a:cxn ang="T11">
                <a:pos x="T6" y="T7"/>
              </a:cxn>
            </a:cxnLst>
            <a:rect l="T12" t="T13" r="T14" b="T15"/>
            <a:pathLst>
              <a:path w="520700" h="355600">
                <a:moveTo>
                  <a:pt x="0" y="6350"/>
                </a:moveTo>
                <a:lnTo>
                  <a:pt x="520700" y="0"/>
                </a:lnTo>
                <a:lnTo>
                  <a:pt x="171450" y="355600"/>
                </a:lnTo>
                <a:lnTo>
                  <a:pt x="0" y="6350"/>
                </a:lnTo>
                <a:close/>
              </a:path>
            </a:pathLst>
          </a:custGeom>
          <a:solidFill>
            <a:srgbClr val="BC232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5" name="任意多边形 49"/>
          <p:cNvSpPr>
            <a:spLocks noChangeArrowheads="1"/>
          </p:cNvSpPr>
          <p:nvPr/>
        </p:nvSpPr>
        <p:spPr bwMode="auto">
          <a:xfrm>
            <a:off x="2476500" y="-38100"/>
            <a:ext cx="387350" cy="146050"/>
          </a:xfrm>
          <a:custGeom>
            <a:avLst/>
            <a:gdLst>
              <a:gd name="T0" fmla="*/ 0 w 387350"/>
              <a:gd name="T1" fmla="*/ 19050 h 146050"/>
              <a:gd name="T2" fmla="*/ 114300 w 387350"/>
              <a:gd name="T3" fmla="*/ 146050 h 146050"/>
              <a:gd name="T4" fmla="*/ 387350 w 387350"/>
              <a:gd name="T5" fmla="*/ 0 h 146050"/>
              <a:gd name="T6" fmla="*/ 0 w 387350"/>
              <a:gd name="T7" fmla="*/ 19050 h 146050"/>
              <a:gd name="T8" fmla="*/ 0 60000 65536"/>
              <a:gd name="T9" fmla="*/ 0 60000 65536"/>
              <a:gd name="T10" fmla="*/ 0 60000 65536"/>
              <a:gd name="T11" fmla="*/ 0 60000 65536"/>
              <a:gd name="T12" fmla="*/ 0 w 387350"/>
              <a:gd name="T13" fmla="*/ 0 h 146050"/>
              <a:gd name="T14" fmla="*/ 387350 w 387350"/>
              <a:gd name="T15" fmla="*/ 146050 h 146050"/>
            </a:gdLst>
            <a:ahLst/>
            <a:cxnLst>
              <a:cxn ang="T8">
                <a:pos x="T0" y="T1"/>
              </a:cxn>
              <a:cxn ang="T9">
                <a:pos x="T2" y="T3"/>
              </a:cxn>
              <a:cxn ang="T10">
                <a:pos x="T4" y="T5"/>
              </a:cxn>
              <a:cxn ang="T11">
                <a:pos x="T6" y="T7"/>
              </a:cxn>
            </a:cxnLst>
            <a:rect l="T12" t="T13" r="T14" b="T15"/>
            <a:pathLst>
              <a:path w="387350" h="146050">
                <a:moveTo>
                  <a:pt x="0" y="19050"/>
                </a:moveTo>
                <a:lnTo>
                  <a:pt x="114300" y="146050"/>
                </a:lnTo>
                <a:lnTo>
                  <a:pt x="387350" y="0"/>
                </a:lnTo>
                <a:lnTo>
                  <a:pt x="0" y="19050"/>
                </a:lnTo>
                <a:close/>
              </a:path>
            </a:pathLst>
          </a:custGeom>
          <a:solidFill>
            <a:srgbClr val="1D9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6" name="任意多边形 50"/>
          <p:cNvSpPr>
            <a:spLocks noChangeArrowheads="1"/>
          </p:cNvSpPr>
          <p:nvPr/>
        </p:nvSpPr>
        <p:spPr bwMode="auto">
          <a:xfrm>
            <a:off x="4222750" y="1150938"/>
            <a:ext cx="203200" cy="152400"/>
          </a:xfrm>
          <a:custGeom>
            <a:avLst/>
            <a:gdLst>
              <a:gd name="T0" fmla="*/ 114300 w 203200"/>
              <a:gd name="T1" fmla="*/ 0 h 152400"/>
              <a:gd name="T2" fmla="*/ 0 w 203200"/>
              <a:gd name="T3" fmla="*/ 152400 h 152400"/>
              <a:gd name="T4" fmla="*/ 203200 w 203200"/>
              <a:gd name="T5" fmla="*/ 63500 h 152400"/>
              <a:gd name="T6" fmla="*/ 114300 w 203200"/>
              <a:gd name="T7" fmla="*/ 0 h 152400"/>
              <a:gd name="T8" fmla="*/ 0 60000 65536"/>
              <a:gd name="T9" fmla="*/ 0 60000 65536"/>
              <a:gd name="T10" fmla="*/ 0 60000 65536"/>
              <a:gd name="T11" fmla="*/ 0 60000 65536"/>
              <a:gd name="T12" fmla="*/ 0 w 203200"/>
              <a:gd name="T13" fmla="*/ 0 h 152400"/>
              <a:gd name="T14" fmla="*/ 203200 w 203200"/>
              <a:gd name="T15" fmla="*/ 152400 h 152400"/>
            </a:gdLst>
            <a:ahLst/>
            <a:cxnLst>
              <a:cxn ang="T8">
                <a:pos x="T0" y="T1"/>
              </a:cxn>
              <a:cxn ang="T9">
                <a:pos x="T2" y="T3"/>
              </a:cxn>
              <a:cxn ang="T10">
                <a:pos x="T4" y="T5"/>
              </a:cxn>
              <a:cxn ang="T11">
                <a:pos x="T6" y="T7"/>
              </a:cxn>
            </a:cxnLst>
            <a:rect l="T12" t="T13" r="T14" b="T15"/>
            <a:pathLst>
              <a:path w="203200" h="152400">
                <a:moveTo>
                  <a:pt x="114300" y="0"/>
                </a:moveTo>
                <a:lnTo>
                  <a:pt x="0" y="152400"/>
                </a:lnTo>
                <a:lnTo>
                  <a:pt x="203200" y="63500"/>
                </a:lnTo>
                <a:lnTo>
                  <a:pt x="114300" y="0"/>
                </a:lnTo>
                <a:close/>
              </a:path>
            </a:pathLst>
          </a:custGeom>
          <a:solidFill>
            <a:srgbClr val="EE403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7" name="任意多边形 51"/>
          <p:cNvSpPr>
            <a:spLocks noChangeArrowheads="1"/>
          </p:cNvSpPr>
          <p:nvPr/>
        </p:nvSpPr>
        <p:spPr bwMode="auto">
          <a:xfrm>
            <a:off x="4578350" y="1897063"/>
            <a:ext cx="266700" cy="285750"/>
          </a:xfrm>
          <a:custGeom>
            <a:avLst/>
            <a:gdLst>
              <a:gd name="T0" fmla="*/ 0 w 266700"/>
              <a:gd name="T1" fmla="*/ 0 h 285750"/>
              <a:gd name="T2" fmla="*/ 266700 w 266700"/>
              <a:gd name="T3" fmla="*/ 6350 h 285750"/>
              <a:gd name="T4" fmla="*/ 222250 w 266700"/>
              <a:gd name="T5" fmla="*/ 285750 h 285750"/>
              <a:gd name="T6" fmla="*/ 0 w 266700"/>
              <a:gd name="T7" fmla="*/ 0 h 285750"/>
              <a:gd name="T8" fmla="*/ 0 60000 65536"/>
              <a:gd name="T9" fmla="*/ 0 60000 65536"/>
              <a:gd name="T10" fmla="*/ 0 60000 65536"/>
              <a:gd name="T11" fmla="*/ 0 60000 65536"/>
              <a:gd name="T12" fmla="*/ 0 w 266700"/>
              <a:gd name="T13" fmla="*/ 0 h 285750"/>
              <a:gd name="T14" fmla="*/ 266700 w 266700"/>
              <a:gd name="T15" fmla="*/ 285750 h 285750"/>
            </a:gdLst>
            <a:ahLst/>
            <a:cxnLst>
              <a:cxn ang="T8">
                <a:pos x="T0" y="T1"/>
              </a:cxn>
              <a:cxn ang="T9">
                <a:pos x="T2" y="T3"/>
              </a:cxn>
              <a:cxn ang="T10">
                <a:pos x="T4" y="T5"/>
              </a:cxn>
              <a:cxn ang="T11">
                <a:pos x="T6" y="T7"/>
              </a:cxn>
            </a:cxnLst>
            <a:rect l="T12" t="T13" r="T14" b="T15"/>
            <a:pathLst>
              <a:path w="266700" h="285750">
                <a:moveTo>
                  <a:pt x="0" y="0"/>
                </a:moveTo>
                <a:lnTo>
                  <a:pt x="266700" y="6350"/>
                </a:lnTo>
                <a:lnTo>
                  <a:pt x="222250" y="285750"/>
                </a:lnTo>
                <a:lnTo>
                  <a:pt x="0" y="0"/>
                </a:lnTo>
                <a:close/>
              </a:path>
            </a:pathLst>
          </a:custGeom>
          <a:solidFill>
            <a:srgbClr val="EB253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8" name="任意多边形 52"/>
          <p:cNvSpPr>
            <a:spLocks noChangeArrowheads="1"/>
          </p:cNvSpPr>
          <p:nvPr/>
        </p:nvSpPr>
        <p:spPr bwMode="auto">
          <a:xfrm>
            <a:off x="4356100" y="860425"/>
            <a:ext cx="336550" cy="152400"/>
          </a:xfrm>
          <a:custGeom>
            <a:avLst/>
            <a:gdLst>
              <a:gd name="T0" fmla="*/ 0 w 336550"/>
              <a:gd name="T1" fmla="*/ 0 h 152400"/>
              <a:gd name="T2" fmla="*/ 336550 w 336550"/>
              <a:gd name="T3" fmla="*/ 12700 h 152400"/>
              <a:gd name="T4" fmla="*/ 165100 w 336550"/>
              <a:gd name="T5" fmla="*/ 152400 h 152400"/>
              <a:gd name="T6" fmla="*/ 0 w 336550"/>
              <a:gd name="T7" fmla="*/ 0 h 152400"/>
              <a:gd name="T8" fmla="*/ 0 60000 65536"/>
              <a:gd name="T9" fmla="*/ 0 60000 65536"/>
              <a:gd name="T10" fmla="*/ 0 60000 65536"/>
              <a:gd name="T11" fmla="*/ 0 60000 65536"/>
              <a:gd name="T12" fmla="*/ 0 w 336550"/>
              <a:gd name="T13" fmla="*/ 0 h 152400"/>
              <a:gd name="T14" fmla="*/ 336550 w 336550"/>
              <a:gd name="T15" fmla="*/ 152400 h 152400"/>
            </a:gdLst>
            <a:ahLst/>
            <a:cxnLst>
              <a:cxn ang="T8">
                <a:pos x="T0" y="T1"/>
              </a:cxn>
              <a:cxn ang="T9">
                <a:pos x="T2" y="T3"/>
              </a:cxn>
              <a:cxn ang="T10">
                <a:pos x="T4" y="T5"/>
              </a:cxn>
              <a:cxn ang="T11">
                <a:pos x="T6" y="T7"/>
              </a:cxn>
            </a:cxnLst>
            <a:rect l="T12" t="T13" r="T14" b="T15"/>
            <a:pathLst>
              <a:path w="336550" h="152400">
                <a:moveTo>
                  <a:pt x="0" y="0"/>
                </a:moveTo>
                <a:lnTo>
                  <a:pt x="336550" y="12700"/>
                </a:lnTo>
                <a:lnTo>
                  <a:pt x="165100" y="152400"/>
                </a:lnTo>
                <a:lnTo>
                  <a:pt x="0" y="0"/>
                </a:lnTo>
                <a:close/>
              </a:path>
            </a:pathLst>
          </a:custGeom>
          <a:solidFill>
            <a:srgbClr val="BE1F3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89" name="任意多边形 53"/>
          <p:cNvSpPr>
            <a:spLocks noChangeArrowheads="1"/>
          </p:cNvSpPr>
          <p:nvPr/>
        </p:nvSpPr>
        <p:spPr bwMode="auto">
          <a:xfrm>
            <a:off x="4552950" y="3282950"/>
            <a:ext cx="241300" cy="254000"/>
          </a:xfrm>
          <a:custGeom>
            <a:avLst/>
            <a:gdLst>
              <a:gd name="T0" fmla="*/ 0 w 241300"/>
              <a:gd name="T1" fmla="*/ 0 h 254000"/>
              <a:gd name="T2" fmla="*/ 241300 w 241300"/>
              <a:gd name="T3" fmla="*/ 69850 h 254000"/>
              <a:gd name="T4" fmla="*/ 95250 w 241300"/>
              <a:gd name="T5" fmla="*/ 254000 h 254000"/>
              <a:gd name="T6" fmla="*/ 0 w 241300"/>
              <a:gd name="T7" fmla="*/ 0 h 254000"/>
              <a:gd name="T8" fmla="*/ 0 60000 65536"/>
              <a:gd name="T9" fmla="*/ 0 60000 65536"/>
              <a:gd name="T10" fmla="*/ 0 60000 65536"/>
              <a:gd name="T11" fmla="*/ 0 60000 65536"/>
              <a:gd name="T12" fmla="*/ 0 w 241300"/>
              <a:gd name="T13" fmla="*/ 0 h 254000"/>
              <a:gd name="T14" fmla="*/ 241300 w 241300"/>
              <a:gd name="T15" fmla="*/ 254000 h 254000"/>
            </a:gdLst>
            <a:ahLst/>
            <a:cxnLst>
              <a:cxn ang="T8">
                <a:pos x="T0" y="T1"/>
              </a:cxn>
              <a:cxn ang="T9">
                <a:pos x="T2" y="T3"/>
              </a:cxn>
              <a:cxn ang="T10">
                <a:pos x="T4" y="T5"/>
              </a:cxn>
              <a:cxn ang="T11">
                <a:pos x="T6" y="T7"/>
              </a:cxn>
            </a:cxnLst>
            <a:rect l="T12" t="T13" r="T14" b="T15"/>
            <a:pathLst>
              <a:path w="241300" h="254000">
                <a:moveTo>
                  <a:pt x="0" y="0"/>
                </a:moveTo>
                <a:lnTo>
                  <a:pt x="241300" y="69850"/>
                </a:lnTo>
                <a:lnTo>
                  <a:pt x="95250" y="254000"/>
                </a:lnTo>
                <a:lnTo>
                  <a:pt x="0" y="0"/>
                </a:lnTo>
                <a:close/>
              </a:path>
            </a:pathLst>
          </a:cu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0" name="任意多边形 54"/>
          <p:cNvSpPr>
            <a:spLocks noChangeArrowheads="1"/>
          </p:cNvSpPr>
          <p:nvPr/>
        </p:nvSpPr>
        <p:spPr bwMode="auto">
          <a:xfrm>
            <a:off x="4933950" y="4114800"/>
            <a:ext cx="266700" cy="304800"/>
          </a:xfrm>
          <a:custGeom>
            <a:avLst/>
            <a:gdLst>
              <a:gd name="T0" fmla="*/ 234950 w 266700"/>
              <a:gd name="T1" fmla="*/ 0 h 304800"/>
              <a:gd name="T2" fmla="*/ 0 w 266700"/>
              <a:gd name="T3" fmla="*/ 304800 h 304800"/>
              <a:gd name="T4" fmla="*/ 266700 w 266700"/>
              <a:gd name="T5" fmla="*/ 241300 h 304800"/>
              <a:gd name="T6" fmla="*/ 234950 w 266700"/>
              <a:gd name="T7" fmla="*/ 0 h 304800"/>
              <a:gd name="T8" fmla="*/ 0 60000 65536"/>
              <a:gd name="T9" fmla="*/ 0 60000 65536"/>
              <a:gd name="T10" fmla="*/ 0 60000 65536"/>
              <a:gd name="T11" fmla="*/ 0 60000 65536"/>
              <a:gd name="T12" fmla="*/ 0 w 266700"/>
              <a:gd name="T13" fmla="*/ 0 h 304800"/>
              <a:gd name="T14" fmla="*/ 266700 w 266700"/>
              <a:gd name="T15" fmla="*/ 304800 h 304800"/>
            </a:gdLst>
            <a:ahLst/>
            <a:cxnLst>
              <a:cxn ang="T8">
                <a:pos x="T0" y="T1"/>
              </a:cxn>
              <a:cxn ang="T9">
                <a:pos x="T2" y="T3"/>
              </a:cxn>
              <a:cxn ang="T10">
                <a:pos x="T4" y="T5"/>
              </a:cxn>
              <a:cxn ang="T11">
                <a:pos x="T6" y="T7"/>
              </a:cxn>
            </a:cxnLst>
            <a:rect l="T12" t="T13" r="T14" b="T15"/>
            <a:pathLst>
              <a:path w="266700" h="304800">
                <a:moveTo>
                  <a:pt x="234950" y="0"/>
                </a:moveTo>
                <a:lnTo>
                  <a:pt x="0" y="304800"/>
                </a:lnTo>
                <a:lnTo>
                  <a:pt x="266700" y="241300"/>
                </a:lnTo>
                <a:lnTo>
                  <a:pt x="234950" y="0"/>
                </a:lnTo>
                <a:close/>
              </a:path>
            </a:pathLst>
          </a:custGeom>
          <a:solidFill>
            <a:srgbClr val="F8A11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1" name="任意多边形 55"/>
          <p:cNvSpPr>
            <a:spLocks noChangeArrowheads="1"/>
          </p:cNvSpPr>
          <p:nvPr/>
        </p:nvSpPr>
        <p:spPr bwMode="auto">
          <a:xfrm>
            <a:off x="5156200" y="4654550"/>
            <a:ext cx="184150" cy="260350"/>
          </a:xfrm>
          <a:custGeom>
            <a:avLst/>
            <a:gdLst>
              <a:gd name="T0" fmla="*/ 57150 w 184150"/>
              <a:gd name="T1" fmla="*/ 0 h 260350"/>
              <a:gd name="T2" fmla="*/ 0 w 184150"/>
              <a:gd name="T3" fmla="*/ 241300 h 260350"/>
              <a:gd name="T4" fmla="*/ 184150 w 184150"/>
              <a:gd name="T5" fmla="*/ 260350 h 260350"/>
              <a:gd name="T6" fmla="*/ 57150 w 184150"/>
              <a:gd name="T7" fmla="*/ 0 h 260350"/>
              <a:gd name="T8" fmla="*/ 0 60000 65536"/>
              <a:gd name="T9" fmla="*/ 0 60000 65536"/>
              <a:gd name="T10" fmla="*/ 0 60000 65536"/>
              <a:gd name="T11" fmla="*/ 0 60000 65536"/>
              <a:gd name="T12" fmla="*/ 0 w 184150"/>
              <a:gd name="T13" fmla="*/ 0 h 260350"/>
              <a:gd name="T14" fmla="*/ 184150 w 184150"/>
              <a:gd name="T15" fmla="*/ 260350 h 260350"/>
            </a:gdLst>
            <a:ahLst/>
            <a:cxnLst>
              <a:cxn ang="T8">
                <a:pos x="T0" y="T1"/>
              </a:cxn>
              <a:cxn ang="T9">
                <a:pos x="T2" y="T3"/>
              </a:cxn>
              <a:cxn ang="T10">
                <a:pos x="T4" y="T5"/>
              </a:cxn>
              <a:cxn ang="T11">
                <a:pos x="T6" y="T7"/>
              </a:cxn>
            </a:cxnLst>
            <a:rect l="T12" t="T13" r="T14" b="T15"/>
            <a:pathLst>
              <a:path w="184150" h="260350">
                <a:moveTo>
                  <a:pt x="57150" y="0"/>
                </a:moveTo>
                <a:lnTo>
                  <a:pt x="0" y="241300"/>
                </a:lnTo>
                <a:lnTo>
                  <a:pt x="184150" y="260350"/>
                </a:lnTo>
                <a:lnTo>
                  <a:pt x="57150" y="0"/>
                </a:lnTo>
                <a:close/>
              </a:path>
            </a:pathLst>
          </a:custGeom>
          <a:solidFill>
            <a:srgbClr val="EC25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2" name="任意多边形 56"/>
          <p:cNvSpPr>
            <a:spLocks noChangeArrowheads="1"/>
          </p:cNvSpPr>
          <p:nvPr/>
        </p:nvSpPr>
        <p:spPr bwMode="auto">
          <a:xfrm>
            <a:off x="5257800" y="4292600"/>
            <a:ext cx="190500" cy="120650"/>
          </a:xfrm>
          <a:custGeom>
            <a:avLst/>
            <a:gdLst>
              <a:gd name="T0" fmla="*/ 0 w 190500"/>
              <a:gd name="T1" fmla="*/ 19050 h 120650"/>
              <a:gd name="T2" fmla="*/ 0 w 190500"/>
              <a:gd name="T3" fmla="*/ 19050 h 120650"/>
              <a:gd name="T4" fmla="*/ 63500 w 190500"/>
              <a:gd name="T5" fmla="*/ 19050 h 120650"/>
              <a:gd name="T6" fmla="*/ 190500 w 190500"/>
              <a:gd name="T7" fmla="*/ 0 h 120650"/>
              <a:gd name="T8" fmla="*/ 19050 w 190500"/>
              <a:gd name="T9" fmla="*/ 120650 h 120650"/>
              <a:gd name="T10" fmla="*/ 0 w 190500"/>
              <a:gd name="T11" fmla="*/ 19050 h 120650"/>
              <a:gd name="T12" fmla="*/ 0 60000 65536"/>
              <a:gd name="T13" fmla="*/ 0 60000 65536"/>
              <a:gd name="T14" fmla="*/ 0 60000 65536"/>
              <a:gd name="T15" fmla="*/ 0 60000 65536"/>
              <a:gd name="T16" fmla="*/ 0 60000 65536"/>
              <a:gd name="T17" fmla="*/ 0 60000 65536"/>
              <a:gd name="T18" fmla="*/ 0 w 190500"/>
              <a:gd name="T19" fmla="*/ 0 h 120650"/>
              <a:gd name="T20" fmla="*/ 190500 w 190500"/>
              <a:gd name="T21" fmla="*/ 120650 h 120650"/>
            </a:gdLst>
            <a:ahLst/>
            <a:cxnLst>
              <a:cxn ang="T12">
                <a:pos x="T0" y="T1"/>
              </a:cxn>
              <a:cxn ang="T13">
                <a:pos x="T2" y="T3"/>
              </a:cxn>
              <a:cxn ang="T14">
                <a:pos x="T4" y="T5"/>
              </a:cxn>
              <a:cxn ang="T15">
                <a:pos x="T6" y="T7"/>
              </a:cxn>
              <a:cxn ang="T16">
                <a:pos x="T8" y="T9"/>
              </a:cxn>
              <a:cxn ang="T17">
                <a:pos x="T10" y="T11"/>
              </a:cxn>
            </a:cxnLst>
            <a:rect l="T18" t="T19" r="T20" b="T21"/>
            <a:pathLst>
              <a:path w="190500" h="120650">
                <a:moveTo>
                  <a:pt x="0" y="19050"/>
                </a:moveTo>
                <a:lnTo>
                  <a:pt x="0" y="19050"/>
                </a:lnTo>
                <a:lnTo>
                  <a:pt x="63500" y="19050"/>
                </a:lnTo>
                <a:lnTo>
                  <a:pt x="190500" y="0"/>
                </a:lnTo>
                <a:lnTo>
                  <a:pt x="19050" y="120650"/>
                </a:lnTo>
                <a:lnTo>
                  <a:pt x="0" y="19050"/>
                </a:lnTo>
                <a:close/>
              </a:path>
            </a:pathLst>
          </a:custGeom>
          <a:solidFill>
            <a:srgbClr val="F5942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3" name="任意多边形 57"/>
          <p:cNvSpPr>
            <a:spLocks noChangeArrowheads="1"/>
          </p:cNvSpPr>
          <p:nvPr/>
        </p:nvSpPr>
        <p:spPr bwMode="auto">
          <a:xfrm>
            <a:off x="4845050" y="3473450"/>
            <a:ext cx="114300" cy="120650"/>
          </a:xfrm>
          <a:custGeom>
            <a:avLst/>
            <a:gdLst>
              <a:gd name="T0" fmla="*/ 25400 w 114300"/>
              <a:gd name="T1" fmla="*/ 0 h 120650"/>
              <a:gd name="T2" fmla="*/ 114300 w 114300"/>
              <a:gd name="T3" fmla="*/ 120650 h 120650"/>
              <a:gd name="T4" fmla="*/ 0 w 114300"/>
              <a:gd name="T5" fmla="*/ 82550 h 120650"/>
              <a:gd name="T6" fmla="*/ 25400 w 114300"/>
              <a:gd name="T7" fmla="*/ 0 h 120650"/>
              <a:gd name="T8" fmla="*/ 0 60000 65536"/>
              <a:gd name="T9" fmla="*/ 0 60000 65536"/>
              <a:gd name="T10" fmla="*/ 0 60000 65536"/>
              <a:gd name="T11" fmla="*/ 0 60000 65536"/>
              <a:gd name="T12" fmla="*/ 0 w 114300"/>
              <a:gd name="T13" fmla="*/ 0 h 120650"/>
              <a:gd name="T14" fmla="*/ 114300 w 114300"/>
              <a:gd name="T15" fmla="*/ 120650 h 120650"/>
            </a:gdLst>
            <a:ahLst/>
            <a:cxnLst>
              <a:cxn ang="T8">
                <a:pos x="T0" y="T1"/>
              </a:cxn>
              <a:cxn ang="T9">
                <a:pos x="T2" y="T3"/>
              </a:cxn>
              <a:cxn ang="T10">
                <a:pos x="T4" y="T5"/>
              </a:cxn>
              <a:cxn ang="T11">
                <a:pos x="T6" y="T7"/>
              </a:cxn>
            </a:cxnLst>
            <a:rect l="T12" t="T13" r="T14" b="T15"/>
            <a:pathLst>
              <a:path w="114300" h="120650">
                <a:moveTo>
                  <a:pt x="25400" y="0"/>
                </a:moveTo>
                <a:lnTo>
                  <a:pt x="114300" y="120650"/>
                </a:lnTo>
                <a:lnTo>
                  <a:pt x="0" y="82550"/>
                </a:lnTo>
                <a:lnTo>
                  <a:pt x="25400" y="0"/>
                </a:lnTo>
                <a:close/>
              </a:path>
            </a:pathLst>
          </a:custGeom>
          <a:solidFill>
            <a:srgbClr val="EA524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4" name="任意多边形 58"/>
          <p:cNvSpPr>
            <a:spLocks noChangeArrowheads="1"/>
          </p:cNvSpPr>
          <p:nvPr/>
        </p:nvSpPr>
        <p:spPr bwMode="auto">
          <a:xfrm>
            <a:off x="3962400" y="317500"/>
            <a:ext cx="152400" cy="266700"/>
          </a:xfrm>
          <a:custGeom>
            <a:avLst/>
            <a:gdLst>
              <a:gd name="T0" fmla="*/ 127000 w 152400"/>
              <a:gd name="T1" fmla="*/ 0 h 266700"/>
              <a:gd name="T2" fmla="*/ 0 w 152400"/>
              <a:gd name="T3" fmla="*/ 57150 h 266700"/>
              <a:gd name="T4" fmla="*/ 152400 w 152400"/>
              <a:gd name="T5" fmla="*/ 266700 h 266700"/>
              <a:gd name="T6" fmla="*/ 127000 w 152400"/>
              <a:gd name="T7" fmla="*/ 0 h 266700"/>
              <a:gd name="T8" fmla="*/ 0 60000 65536"/>
              <a:gd name="T9" fmla="*/ 0 60000 65536"/>
              <a:gd name="T10" fmla="*/ 0 60000 65536"/>
              <a:gd name="T11" fmla="*/ 0 60000 65536"/>
              <a:gd name="T12" fmla="*/ 0 w 152400"/>
              <a:gd name="T13" fmla="*/ 0 h 266700"/>
              <a:gd name="T14" fmla="*/ 152400 w 152400"/>
              <a:gd name="T15" fmla="*/ 266700 h 266700"/>
            </a:gdLst>
            <a:ahLst/>
            <a:cxnLst>
              <a:cxn ang="T8">
                <a:pos x="T0" y="T1"/>
              </a:cxn>
              <a:cxn ang="T9">
                <a:pos x="T2" y="T3"/>
              </a:cxn>
              <a:cxn ang="T10">
                <a:pos x="T4" y="T5"/>
              </a:cxn>
              <a:cxn ang="T11">
                <a:pos x="T6" y="T7"/>
              </a:cxn>
            </a:cxnLst>
            <a:rect l="T12" t="T13" r="T14" b="T15"/>
            <a:pathLst>
              <a:path w="152400" h="266700">
                <a:moveTo>
                  <a:pt x="127000" y="0"/>
                </a:moveTo>
                <a:lnTo>
                  <a:pt x="0" y="57150"/>
                </a:lnTo>
                <a:lnTo>
                  <a:pt x="152400" y="266700"/>
                </a:lnTo>
                <a:lnTo>
                  <a:pt x="127000" y="0"/>
                </a:lnTo>
                <a:close/>
              </a:path>
            </a:pathLst>
          </a:custGeom>
          <a:solidFill>
            <a:srgbClr val="260D0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5" name="任意多边形 65"/>
          <p:cNvSpPr>
            <a:spLocks noChangeArrowheads="1"/>
          </p:cNvSpPr>
          <p:nvPr/>
        </p:nvSpPr>
        <p:spPr bwMode="auto">
          <a:xfrm>
            <a:off x="5448300" y="5029200"/>
            <a:ext cx="152400" cy="266700"/>
          </a:xfrm>
          <a:custGeom>
            <a:avLst/>
            <a:gdLst>
              <a:gd name="T0" fmla="*/ 127000 w 152400"/>
              <a:gd name="T1" fmla="*/ 0 h 266700"/>
              <a:gd name="T2" fmla="*/ 0 w 152400"/>
              <a:gd name="T3" fmla="*/ 57150 h 266700"/>
              <a:gd name="T4" fmla="*/ 152400 w 152400"/>
              <a:gd name="T5" fmla="*/ 266700 h 266700"/>
              <a:gd name="T6" fmla="*/ 127000 w 152400"/>
              <a:gd name="T7" fmla="*/ 0 h 266700"/>
              <a:gd name="T8" fmla="*/ 0 60000 65536"/>
              <a:gd name="T9" fmla="*/ 0 60000 65536"/>
              <a:gd name="T10" fmla="*/ 0 60000 65536"/>
              <a:gd name="T11" fmla="*/ 0 60000 65536"/>
              <a:gd name="T12" fmla="*/ 0 w 152400"/>
              <a:gd name="T13" fmla="*/ 0 h 266700"/>
              <a:gd name="T14" fmla="*/ 152400 w 152400"/>
              <a:gd name="T15" fmla="*/ 266700 h 266700"/>
            </a:gdLst>
            <a:ahLst/>
            <a:cxnLst>
              <a:cxn ang="T8">
                <a:pos x="T0" y="T1"/>
              </a:cxn>
              <a:cxn ang="T9">
                <a:pos x="T2" y="T3"/>
              </a:cxn>
              <a:cxn ang="T10">
                <a:pos x="T4" y="T5"/>
              </a:cxn>
              <a:cxn ang="T11">
                <a:pos x="T6" y="T7"/>
              </a:cxn>
            </a:cxnLst>
            <a:rect l="T12" t="T13" r="T14" b="T15"/>
            <a:pathLst>
              <a:path w="152400" h="266700">
                <a:moveTo>
                  <a:pt x="127000" y="0"/>
                </a:moveTo>
                <a:lnTo>
                  <a:pt x="0" y="57150"/>
                </a:lnTo>
                <a:lnTo>
                  <a:pt x="152400" y="266700"/>
                </a:lnTo>
                <a:lnTo>
                  <a:pt x="127000" y="0"/>
                </a:lnTo>
                <a:close/>
              </a:path>
            </a:pathLst>
          </a:custGeom>
          <a:solidFill>
            <a:srgbClr val="BE1F3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6"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7"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99"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 name="TextBox 6"/>
          <p:cNvSpPr txBox="1">
            <a:spLocks noChangeArrowheads="1"/>
          </p:cNvSpPr>
          <p:nvPr/>
        </p:nvSpPr>
        <p:spPr bwMode="auto">
          <a:xfrm>
            <a:off x="5231414" y="2542228"/>
            <a:ext cx="208377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vl2pPr/>
            <a:lvl3pPr/>
            <a:lvl4pPr/>
            <a:lvl5pPr/>
            <a:lvl6pPr/>
            <a:lvl7pPr/>
            <a:lvl8pPr/>
            <a:lvl9pPr/>
          </a:lstStyle>
          <a:p>
            <a:r>
              <a:rPr lang="zh-CN" altLang="en-US" sz="2400"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商业伦理</a:t>
            </a:r>
            <a:endParaRPr lang="zh-CN" sz="24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7" name="TextBox 6"/>
          <p:cNvSpPr txBox="1">
            <a:spLocks noChangeArrowheads="1"/>
          </p:cNvSpPr>
          <p:nvPr/>
        </p:nvSpPr>
        <p:spPr bwMode="auto">
          <a:xfrm>
            <a:off x="5231414" y="1423193"/>
            <a:ext cx="236364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vl2pPr/>
            <a:lvl3pPr/>
            <a:lvl4pPr/>
            <a:lvl5pPr/>
            <a:lvl6pPr/>
            <a:lvl7pPr/>
            <a:lvl8pPr/>
            <a:lvl9pPr/>
          </a:lstStyle>
          <a:p>
            <a:r>
              <a:rPr lang="zh-CN" altLang="en-US" sz="2400"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企业利益相关者</a:t>
            </a:r>
            <a:endParaRPr lang="zh-CN" sz="24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TextBox 6"/>
          <p:cNvSpPr txBox="1">
            <a:spLocks noChangeArrowheads="1"/>
          </p:cNvSpPr>
          <p:nvPr/>
        </p:nvSpPr>
        <p:spPr bwMode="auto">
          <a:xfrm>
            <a:off x="5217886" y="3550592"/>
            <a:ext cx="238696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vl2pPr/>
            <a:lvl3pPr/>
            <a:lvl4pPr/>
            <a:lvl5pPr/>
            <a:lvl6pPr/>
            <a:lvl7pPr/>
            <a:lvl8pPr/>
            <a:lvl9pPr/>
          </a:lstStyle>
          <a:p>
            <a:r>
              <a:rPr lang="zh-CN" altLang="en-US" sz="2400"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企业社会责任</a:t>
            </a:r>
            <a:endParaRPr lang="zh-CN" sz="24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2" name="组合 10"/>
          <p:cNvGrpSpPr/>
          <p:nvPr/>
        </p:nvGrpSpPr>
        <p:grpSpPr>
          <a:xfrm flipV="1">
            <a:off x="4711732" y="1432847"/>
            <a:ext cx="334355" cy="803015"/>
            <a:chOff x="581025" y="-431160"/>
            <a:chExt cx="1619642" cy="3889866"/>
          </a:xfrm>
        </p:grpSpPr>
        <p:grpSp>
          <p:nvGrpSpPr>
            <p:cNvPr id="3" name="组合 11"/>
            <p:cNvGrpSpPr/>
            <p:nvPr/>
          </p:nvGrpSpPr>
          <p:grpSpPr>
            <a:xfrm>
              <a:off x="581025" y="-431160"/>
              <a:ext cx="1619642" cy="3889866"/>
              <a:chOff x="6651335" y="-335489"/>
              <a:chExt cx="1360493" cy="3190953"/>
            </a:xfrm>
            <a:effectLst/>
          </p:grpSpPr>
          <p:grpSp>
            <p:nvGrpSpPr>
              <p:cNvPr id="4" name="组合 13"/>
              <p:cNvGrpSpPr/>
              <p:nvPr/>
            </p:nvGrpSpPr>
            <p:grpSpPr>
              <a:xfrm>
                <a:off x="6651335" y="1494971"/>
                <a:ext cx="1360493" cy="1360493"/>
                <a:chOff x="304800" y="673100"/>
                <a:chExt cx="4000500" cy="4000500"/>
              </a:xfrm>
              <a:effectLst>
                <a:outerShdw blurRad="444500" dist="254000" dir="8100000" algn="tr" rotWithShape="0">
                  <a:prstClr val="black">
                    <a:alpha val="50000"/>
                  </a:prstClr>
                </a:outerShdw>
              </a:effectLst>
            </p:grpSpPr>
            <p:sp>
              <p:nvSpPr>
                <p:cNvPr id="16" name="同心圆 15"/>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椭圆 16"/>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15" name="TextBox 14"/>
              <p:cNvSpPr txBox="1"/>
              <p:nvPr/>
            </p:nvSpPr>
            <p:spPr>
              <a:xfrm>
                <a:off x="6854606" y="-335489"/>
                <a:ext cx="751672" cy="2568336"/>
              </a:xfrm>
              <a:prstGeom prst="rect">
                <a:avLst/>
              </a:prstGeom>
              <a:noFill/>
            </p:spPr>
            <p:txBody>
              <a:bodyPr wrap="none" rtlCol="0">
                <a:spAutoFit/>
              </a:bodyPr>
              <a:lstStyle/>
              <a:p>
                <a:endParaRPr lang="zh-CN" altLang="en-US" sz="3600"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13" name="椭圆 12"/>
            <p:cNvSpPr/>
            <p:nvPr/>
          </p:nvSpPr>
          <p:spPr>
            <a:xfrm>
              <a:off x="847487" y="2110889"/>
              <a:ext cx="1086718" cy="1086719"/>
            </a:xfrm>
            <a:prstGeom prst="ellipse">
              <a:avLst/>
            </a:prstGeom>
            <a:solidFill>
              <a:srgbClr val="03A9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 name="组合 18"/>
          <p:cNvGrpSpPr/>
          <p:nvPr/>
        </p:nvGrpSpPr>
        <p:grpSpPr>
          <a:xfrm flipV="1">
            <a:off x="4711732" y="2601873"/>
            <a:ext cx="334355" cy="803015"/>
            <a:chOff x="581025" y="-431160"/>
            <a:chExt cx="1619642" cy="3889866"/>
          </a:xfrm>
        </p:grpSpPr>
        <p:grpSp>
          <p:nvGrpSpPr>
            <p:cNvPr id="11" name="组合 19"/>
            <p:cNvGrpSpPr/>
            <p:nvPr/>
          </p:nvGrpSpPr>
          <p:grpSpPr>
            <a:xfrm>
              <a:off x="581025" y="-431160"/>
              <a:ext cx="1619642" cy="3889866"/>
              <a:chOff x="6651335" y="-335489"/>
              <a:chExt cx="1360493" cy="3190953"/>
            </a:xfrm>
            <a:effectLst/>
          </p:grpSpPr>
          <p:grpSp>
            <p:nvGrpSpPr>
              <p:cNvPr id="12" name="组合 21"/>
              <p:cNvGrpSpPr/>
              <p:nvPr/>
            </p:nvGrpSpPr>
            <p:grpSpPr>
              <a:xfrm>
                <a:off x="6651335" y="1494971"/>
                <a:ext cx="1360493" cy="1360493"/>
                <a:chOff x="304800" y="673100"/>
                <a:chExt cx="4000500" cy="4000500"/>
              </a:xfrm>
              <a:effectLst>
                <a:outerShdw blurRad="444500" dist="254000" dir="8100000" algn="tr" rotWithShape="0">
                  <a:prstClr val="black">
                    <a:alpha val="50000"/>
                  </a:prstClr>
                </a:outerShdw>
              </a:effectLst>
            </p:grpSpPr>
            <p:sp>
              <p:nvSpPr>
                <p:cNvPr id="24" name="同心圆 23"/>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椭圆 24"/>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23" name="TextBox 22"/>
              <p:cNvSpPr txBox="1"/>
              <p:nvPr/>
            </p:nvSpPr>
            <p:spPr>
              <a:xfrm>
                <a:off x="6854606" y="-335489"/>
                <a:ext cx="751672" cy="2568336"/>
              </a:xfrm>
              <a:prstGeom prst="rect">
                <a:avLst/>
              </a:prstGeom>
              <a:noFill/>
            </p:spPr>
            <p:txBody>
              <a:bodyPr wrap="none" rtlCol="0">
                <a:spAutoFit/>
              </a:bodyPr>
              <a:lstStyle/>
              <a:p>
                <a:endParaRPr lang="zh-CN" altLang="en-US" sz="3600"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21" name="椭圆 20"/>
            <p:cNvSpPr/>
            <p:nvPr/>
          </p:nvSpPr>
          <p:spPr>
            <a:xfrm>
              <a:off x="847487" y="2110889"/>
              <a:ext cx="1086718" cy="1086719"/>
            </a:xfrm>
            <a:prstGeom prst="ellipse">
              <a:avLst/>
            </a:prstGeom>
            <a:solidFill>
              <a:srgbClr val="03A9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4" name="组合 25"/>
          <p:cNvGrpSpPr/>
          <p:nvPr/>
        </p:nvGrpSpPr>
        <p:grpSpPr>
          <a:xfrm flipV="1">
            <a:off x="4711732" y="3610237"/>
            <a:ext cx="334355" cy="803015"/>
            <a:chOff x="581025" y="-431160"/>
            <a:chExt cx="1619642" cy="3889866"/>
          </a:xfrm>
        </p:grpSpPr>
        <p:grpSp>
          <p:nvGrpSpPr>
            <p:cNvPr id="18" name="组合 26"/>
            <p:cNvGrpSpPr/>
            <p:nvPr/>
          </p:nvGrpSpPr>
          <p:grpSpPr>
            <a:xfrm>
              <a:off x="581025" y="-431160"/>
              <a:ext cx="1619642" cy="3889866"/>
              <a:chOff x="6651335" y="-335489"/>
              <a:chExt cx="1360493" cy="3190953"/>
            </a:xfrm>
            <a:effectLst/>
          </p:grpSpPr>
          <p:grpSp>
            <p:nvGrpSpPr>
              <p:cNvPr id="19" name="组合 28"/>
              <p:cNvGrpSpPr/>
              <p:nvPr/>
            </p:nvGrpSpPr>
            <p:grpSpPr>
              <a:xfrm>
                <a:off x="6651335" y="1494971"/>
                <a:ext cx="1360493" cy="1360493"/>
                <a:chOff x="304800" y="673100"/>
                <a:chExt cx="4000500" cy="4000500"/>
              </a:xfrm>
              <a:effectLst>
                <a:outerShdw blurRad="444500" dist="254000" dir="8100000" algn="tr" rotWithShape="0">
                  <a:prstClr val="black">
                    <a:alpha val="50000"/>
                  </a:prstClr>
                </a:outerShdw>
              </a:effectLst>
            </p:grpSpPr>
            <p:sp>
              <p:nvSpPr>
                <p:cNvPr id="31" name="同心圆 30"/>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32" name="椭圆 31"/>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30" name="TextBox 29"/>
              <p:cNvSpPr txBox="1"/>
              <p:nvPr/>
            </p:nvSpPr>
            <p:spPr>
              <a:xfrm>
                <a:off x="6854606" y="-335489"/>
                <a:ext cx="751672" cy="2568336"/>
              </a:xfrm>
              <a:prstGeom prst="rect">
                <a:avLst/>
              </a:prstGeom>
              <a:noFill/>
            </p:spPr>
            <p:txBody>
              <a:bodyPr wrap="none" rtlCol="0">
                <a:spAutoFit/>
              </a:bodyPr>
              <a:lstStyle/>
              <a:p>
                <a:endParaRPr lang="zh-CN" altLang="en-US" sz="3600"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28" name="椭圆 27"/>
            <p:cNvSpPr/>
            <p:nvPr/>
          </p:nvSpPr>
          <p:spPr>
            <a:xfrm>
              <a:off x="847487" y="2110889"/>
              <a:ext cx="1086718" cy="1086719"/>
            </a:xfrm>
            <a:prstGeom prst="ellipse">
              <a:avLst/>
            </a:prstGeom>
            <a:solidFill>
              <a:srgbClr val="03A9F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47" name="TextBox 46"/>
          <p:cNvSpPr txBox="1"/>
          <p:nvPr/>
        </p:nvSpPr>
        <p:spPr>
          <a:xfrm>
            <a:off x="755343" y="1874319"/>
            <a:ext cx="2133918" cy="677108"/>
          </a:xfrm>
          <a:prstGeom prst="rect">
            <a:avLst/>
          </a:prstGeom>
          <a:noFill/>
        </p:spPr>
        <p:txBody>
          <a:bodyPr wrap="none" rtlCol="0">
            <a:spAutoFit/>
          </a:bodyPr>
          <a:lstStyle/>
          <a:p>
            <a:pPr algn="ctr" defTabSz="914400" eaLnBrk="1" fontAlgn="auto" hangingPunct="1">
              <a:spcBef>
                <a:spcPts val="0"/>
              </a:spcBef>
              <a:spcAft>
                <a:spcPts val="0"/>
              </a:spcAft>
            </a:pPr>
            <a:r>
              <a:rPr lang="zh-CN" altLang="en-US" sz="3800" b="1"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本章小结</a:t>
            </a:r>
            <a:endParaRPr lang="zh-CN" altLang="en-US" sz="38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灯片编号占位符 5"/>
          <p:cNvSpPr txBox="1"/>
          <p:nvPr/>
        </p:nvSpPr>
        <p:spPr bwMode="auto">
          <a:xfrm>
            <a:off x="6457950" y="4767263"/>
            <a:ext cx="20574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defPPr>
              <a:defRPr lang="zh-CN"/>
            </a:defPPr>
            <a:lvl1pPr algn="r" defTabSz="685800" rtl="0" fontAlgn="base">
              <a:spcBef>
                <a:spcPct val="0"/>
              </a:spcBef>
              <a:spcAft>
                <a:spcPct val="0"/>
              </a:spcAft>
              <a:buFont typeface="Arial" panose="020B0604020202020204" pitchFamily="34" charset="0"/>
              <a:defRPr sz="900" kern="1200">
                <a:solidFill>
                  <a:srgbClr val="898989"/>
                </a:solidFill>
                <a:latin typeface="Arial" panose="020B0604020202020204" pitchFamily="34" charset="0"/>
                <a:ea typeface="宋体" panose="02010600030101010101" pitchFamily="2" charset="-122"/>
                <a:cs typeface="+mn-cs"/>
              </a:defRPr>
            </a:lvl1pPr>
            <a:lvl2pPr marL="342900" algn="l" defTabSz="685800" rtl="0" fontAlgn="base">
              <a:spcBef>
                <a:spcPct val="0"/>
              </a:spcBef>
              <a:spcAft>
                <a:spcPct val="0"/>
              </a:spcAft>
              <a:buFont typeface="Arial" panose="020B0604020202020204" pitchFamily="34" charset="0"/>
              <a:defRPr sz="1300" kern="1200">
                <a:solidFill>
                  <a:schemeClr val="tx1"/>
                </a:solidFill>
                <a:latin typeface="Arial" panose="020B0604020202020204" pitchFamily="34" charset="0"/>
                <a:ea typeface="宋体" panose="02010600030101010101" pitchFamily="2" charset="-122"/>
                <a:cs typeface="+mn-cs"/>
              </a:defRPr>
            </a:lvl2pPr>
            <a:lvl3pPr marL="685800" algn="l" defTabSz="685800" rtl="0" fontAlgn="base">
              <a:spcBef>
                <a:spcPct val="0"/>
              </a:spcBef>
              <a:spcAft>
                <a:spcPct val="0"/>
              </a:spcAft>
              <a:buFont typeface="Arial" panose="020B0604020202020204" pitchFamily="34" charset="0"/>
              <a:defRPr sz="1300" kern="1200">
                <a:solidFill>
                  <a:schemeClr val="tx1"/>
                </a:solidFill>
                <a:latin typeface="Arial" panose="020B0604020202020204" pitchFamily="34" charset="0"/>
                <a:ea typeface="宋体" panose="02010600030101010101" pitchFamily="2" charset="-122"/>
                <a:cs typeface="+mn-cs"/>
              </a:defRPr>
            </a:lvl3pPr>
            <a:lvl4pPr marL="1028700" algn="l" defTabSz="685800" rtl="0" fontAlgn="base">
              <a:spcBef>
                <a:spcPct val="0"/>
              </a:spcBef>
              <a:spcAft>
                <a:spcPct val="0"/>
              </a:spcAft>
              <a:buFont typeface="Arial" panose="020B0604020202020204" pitchFamily="34" charset="0"/>
              <a:defRPr sz="1300" kern="1200">
                <a:solidFill>
                  <a:schemeClr val="tx1"/>
                </a:solidFill>
                <a:latin typeface="Arial" panose="020B0604020202020204" pitchFamily="34" charset="0"/>
                <a:ea typeface="宋体" panose="02010600030101010101" pitchFamily="2" charset="-122"/>
                <a:cs typeface="+mn-cs"/>
              </a:defRPr>
            </a:lvl4pPr>
            <a:lvl5pPr marL="1371600" algn="l" defTabSz="685800" rtl="0" fontAlgn="base">
              <a:spcBef>
                <a:spcPct val="0"/>
              </a:spcBef>
              <a:spcAft>
                <a:spcPct val="0"/>
              </a:spcAft>
              <a:buFont typeface="Arial" panose="020B0604020202020204" pitchFamily="34" charset="0"/>
              <a:defRPr sz="13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13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13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13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1300" kern="1200">
                <a:solidFill>
                  <a:schemeClr val="tx1"/>
                </a:solidFill>
                <a:latin typeface="Arial" panose="020B0604020202020204" pitchFamily="34" charset="0"/>
                <a:ea typeface="宋体" panose="02010600030101010101" pitchFamily="2" charset="-122"/>
                <a:cs typeface="+mn-cs"/>
              </a:defRPr>
            </a:lvl9pPr>
          </a:lstStyle>
          <a:p>
            <a:pPr marL="0" marR="0" lvl="0" indent="0" algn="r" defTabSz="685800" rtl="0" eaLnBrk="1" fontAlgn="base" latinLnBrk="0" hangingPunct="1">
              <a:lnSpc>
                <a:spcPct val="100000"/>
              </a:lnSpc>
              <a:spcBef>
                <a:spcPct val="0"/>
              </a:spcBef>
              <a:spcAft>
                <a:spcPct val="0"/>
              </a:spcAft>
              <a:buClrTx/>
              <a:buSzTx/>
              <a:buFont typeface="Arial" panose="020B0604020202020204" pitchFamily="34" charset="0"/>
              <a:buNone/>
              <a:defRPr/>
            </a:pPr>
            <a:fld id="{0AFA48E6-3377-497B-8AD0-83C1C51C984F}" type="slidenum">
              <a:rPr kumimoji="0" lang="zh-CN" altLang="en-US" sz="900" b="0" i="0" u="none" strike="noStrike" kern="1200" cap="none" spc="0" normalizeH="0" baseline="0" noProof="0" smtClean="0">
                <a:ln>
                  <a:noFill/>
                </a:ln>
                <a:solidFill>
                  <a:srgbClr val="898989"/>
                </a:solidFill>
                <a:effectLst/>
                <a:uLnTx/>
                <a:uFillTx/>
                <a:ea typeface="微软雅黑" panose="020B0503020204020204" pitchFamily="34" charset="-122"/>
                <a:sym typeface="Arial" panose="020B0604020202020204" pitchFamily="34" charset="0"/>
              </a:rPr>
            </a:fld>
            <a:endParaRPr kumimoji="0" lang="zh-CN" altLang="en-US" sz="1800" b="0" i="0" u="none" strike="noStrike" kern="1200" cap="none" spc="0" normalizeH="0" baseline="0" noProof="0">
              <a:ln>
                <a:noFill/>
              </a:ln>
              <a:solidFill>
                <a:srgbClr val="000000"/>
              </a:solidFill>
              <a:effectLst/>
              <a:uLnTx/>
              <a:uFillTx/>
              <a:ea typeface="微软雅黑" panose="020B0503020204020204" pitchFamily="34" charset="-122"/>
              <a:sym typeface="Arial" panose="020B0604020202020204" pitchFamily="34" charset="0"/>
            </a:endParaRPr>
          </a:p>
        </p:txBody>
      </p:sp>
      <p:sp>
        <p:nvSpPr>
          <p:cNvPr id="14" name="任意多边形 35"/>
          <p:cNvSpPr>
            <a:spLocks noChangeArrowheads="1"/>
          </p:cNvSpPr>
          <p:nvPr/>
        </p:nvSpPr>
        <p:spPr bwMode="auto">
          <a:xfrm>
            <a:off x="4154488" y="2046288"/>
            <a:ext cx="503237" cy="1754187"/>
          </a:xfrm>
          <a:custGeom>
            <a:avLst/>
            <a:gdLst>
              <a:gd name="T0" fmla="*/ 55984 w 503853"/>
              <a:gd name="T1" fmla="*/ 0 h 1754155"/>
              <a:gd name="T2" fmla="*/ 503853 w 503853"/>
              <a:gd name="T3" fmla="*/ 391885 h 1754155"/>
              <a:gd name="T4" fmla="*/ 0 w 503853"/>
              <a:gd name="T5" fmla="*/ 1754155 h 1754155"/>
              <a:gd name="T6" fmla="*/ 55984 w 503853"/>
              <a:gd name="T7" fmla="*/ 0 h 1754155"/>
              <a:gd name="T8" fmla="*/ 0 60000 65536"/>
              <a:gd name="T9" fmla="*/ 0 60000 65536"/>
              <a:gd name="T10" fmla="*/ 0 60000 65536"/>
              <a:gd name="T11" fmla="*/ 0 60000 65536"/>
              <a:gd name="T12" fmla="*/ 0 w 503853"/>
              <a:gd name="T13" fmla="*/ 0 h 1754155"/>
              <a:gd name="T14" fmla="*/ 503853 w 503853"/>
              <a:gd name="T15" fmla="*/ 1754155 h 1754155"/>
            </a:gdLst>
            <a:ahLst/>
            <a:cxnLst>
              <a:cxn ang="T8">
                <a:pos x="T0" y="T1"/>
              </a:cxn>
              <a:cxn ang="T9">
                <a:pos x="T2" y="T3"/>
              </a:cxn>
              <a:cxn ang="T10">
                <a:pos x="T4" y="T5"/>
              </a:cxn>
              <a:cxn ang="T11">
                <a:pos x="T6" y="T7"/>
              </a:cxn>
            </a:cxnLst>
            <a:rect l="T12" t="T13" r="T14" b="T15"/>
            <a:pathLst>
              <a:path w="503853" h="1754155">
                <a:moveTo>
                  <a:pt x="55984" y="0"/>
                </a:moveTo>
                <a:lnTo>
                  <a:pt x="503853" y="391885"/>
                </a:lnTo>
                <a:lnTo>
                  <a:pt x="0" y="1754155"/>
                </a:lnTo>
                <a:lnTo>
                  <a:pt x="55984" y="0"/>
                </a:lnTo>
                <a:close/>
              </a:path>
            </a:pathLst>
          </a:custGeom>
          <a:solidFill>
            <a:srgbClr val="145C6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5" name="任意多边形 36"/>
          <p:cNvSpPr>
            <a:spLocks noChangeArrowheads="1"/>
          </p:cNvSpPr>
          <p:nvPr/>
        </p:nvSpPr>
        <p:spPr bwMode="auto">
          <a:xfrm>
            <a:off x="3638550" y="1779588"/>
            <a:ext cx="1157288" cy="509587"/>
          </a:xfrm>
          <a:custGeom>
            <a:avLst/>
            <a:gdLst>
              <a:gd name="T0" fmla="*/ 0 w 1156996"/>
              <a:gd name="T1" fmla="*/ 6220 h 510073"/>
              <a:gd name="T2" fmla="*/ 1156996 w 1156996"/>
              <a:gd name="T3" fmla="*/ 0 h 510073"/>
              <a:gd name="T4" fmla="*/ 124408 w 1156996"/>
              <a:gd name="T5" fmla="*/ 510073 h 510073"/>
              <a:gd name="T6" fmla="*/ 0 w 1156996"/>
              <a:gd name="T7" fmla="*/ 6220 h 510073"/>
              <a:gd name="T8" fmla="*/ 0 60000 65536"/>
              <a:gd name="T9" fmla="*/ 0 60000 65536"/>
              <a:gd name="T10" fmla="*/ 0 60000 65536"/>
              <a:gd name="T11" fmla="*/ 0 60000 65536"/>
              <a:gd name="T12" fmla="*/ 0 w 1156996"/>
              <a:gd name="T13" fmla="*/ 0 h 510073"/>
              <a:gd name="T14" fmla="*/ 1156996 w 1156996"/>
              <a:gd name="T15" fmla="*/ 510073 h 510073"/>
            </a:gdLst>
            <a:ahLst/>
            <a:cxnLst>
              <a:cxn ang="T8">
                <a:pos x="T0" y="T1"/>
              </a:cxn>
              <a:cxn ang="T9">
                <a:pos x="T2" y="T3"/>
              </a:cxn>
              <a:cxn ang="T10">
                <a:pos x="T4" y="T5"/>
              </a:cxn>
              <a:cxn ang="T11">
                <a:pos x="T6" y="T7"/>
              </a:cxn>
            </a:cxnLst>
            <a:rect l="T12" t="T13" r="T14" b="T15"/>
            <a:pathLst>
              <a:path w="1156996" h="510073">
                <a:moveTo>
                  <a:pt x="0" y="6220"/>
                </a:moveTo>
                <a:lnTo>
                  <a:pt x="1156996" y="0"/>
                </a:lnTo>
                <a:lnTo>
                  <a:pt x="124408" y="510073"/>
                </a:lnTo>
                <a:lnTo>
                  <a:pt x="0" y="6220"/>
                </a:lnTo>
                <a:close/>
              </a:path>
            </a:pathLst>
          </a:custGeom>
          <a:solidFill>
            <a:srgbClr val="12B0C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6" name="任意多边形 33"/>
          <p:cNvSpPr>
            <a:spLocks noChangeArrowheads="1"/>
          </p:cNvSpPr>
          <p:nvPr/>
        </p:nvSpPr>
        <p:spPr bwMode="auto">
          <a:xfrm>
            <a:off x="3502025" y="1784350"/>
            <a:ext cx="677863" cy="2028825"/>
          </a:xfrm>
          <a:custGeom>
            <a:avLst/>
            <a:gdLst>
              <a:gd name="T0" fmla="*/ 136849 w 678025"/>
              <a:gd name="T1" fmla="*/ 0 h 2002971"/>
              <a:gd name="T2" fmla="*/ 678025 w 678025"/>
              <a:gd name="T3" fmla="*/ 2002971 h 2002971"/>
              <a:gd name="T4" fmla="*/ 0 w 678025"/>
              <a:gd name="T5" fmla="*/ 1125893 h 2002971"/>
              <a:gd name="T6" fmla="*/ 136849 w 678025"/>
              <a:gd name="T7" fmla="*/ 0 h 2002971"/>
              <a:gd name="T8" fmla="*/ 0 60000 65536"/>
              <a:gd name="T9" fmla="*/ 0 60000 65536"/>
              <a:gd name="T10" fmla="*/ 0 60000 65536"/>
              <a:gd name="T11" fmla="*/ 0 60000 65536"/>
              <a:gd name="T12" fmla="*/ 0 w 678025"/>
              <a:gd name="T13" fmla="*/ 0 h 2002971"/>
              <a:gd name="T14" fmla="*/ 678025 w 678025"/>
              <a:gd name="T15" fmla="*/ 2002971 h 2002971"/>
            </a:gdLst>
            <a:ahLst/>
            <a:cxnLst>
              <a:cxn ang="T8">
                <a:pos x="T0" y="T1"/>
              </a:cxn>
              <a:cxn ang="T9">
                <a:pos x="T2" y="T3"/>
              </a:cxn>
              <a:cxn ang="T10">
                <a:pos x="T4" y="T5"/>
              </a:cxn>
              <a:cxn ang="T11">
                <a:pos x="T6" y="T7"/>
              </a:cxn>
            </a:cxnLst>
            <a:rect l="T12" t="T13" r="T14" b="T15"/>
            <a:pathLst>
              <a:path w="678025" h="2002971">
                <a:moveTo>
                  <a:pt x="136849" y="0"/>
                </a:moveTo>
                <a:lnTo>
                  <a:pt x="678025" y="2002971"/>
                </a:lnTo>
                <a:lnTo>
                  <a:pt x="0" y="1125893"/>
                </a:lnTo>
                <a:lnTo>
                  <a:pt x="136849" y="0"/>
                </a:lnTo>
                <a:close/>
              </a:path>
            </a:pathLst>
          </a:custGeom>
          <a:solidFill>
            <a:srgbClr val="14688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任意多边形 30"/>
          <p:cNvSpPr>
            <a:spLocks noChangeArrowheads="1"/>
          </p:cNvSpPr>
          <p:nvPr/>
        </p:nvSpPr>
        <p:spPr bwMode="auto">
          <a:xfrm>
            <a:off x="3365500" y="2911475"/>
            <a:ext cx="1854200" cy="2282825"/>
          </a:xfrm>
          <a:custGeom>
            <a:avLst/>
            <a:gdLst>
              <a:gd name="T0" fmla="*/ 136849 w 1853682"/>
              <a:gd name="T1" fmla="*/ 0 h 2282889"/>
              <a:gd name="T2" fmla="*/ 1853682 w 1853682"/>
              <a:gd name="T3" fmla="*/ 2282889 h 2282889"/>
              <a:gd name="T4" fmla="*/ 1698171 w 1853682"/>
              <a:gd name="T5" fmla="*/ 2282889 h 2282889"/>
              <a:gd name="T6" fmla="*/ 0 w 1853682"/>
              <a:gd name="T7" fmla="*/ 1107232 h 2282889"/>
              <a:gd name="T8" fmla="*/ 136849 w 1853682"/>
              <a:gd name="T9" fmla="*/ 0 h 2282889"/>
              <a:gd name="T10" fmla="*/ 0 60000 65536"/>
              <a:gd name="T11" fmla="*/ 0 60000 65536"/>
              <a:gd name="T12" fmla="*/ 0 60000 65536"/>
              <a:gd name="T13" fmla="*/ 0 60000 65536"/>
              <a:gd name="T14" fmla="*/ 0 60000 65536"/>
              <a:gd name="T15" fmla="*/ 0 w 1853682"/>
              <a:gd name="T16" fmla="*/ 0 h 2282889"/>
              <a:gd name="T17" fmla="*/ 1853682 w 1853682"/>
              <a:gd name="T18" fmla="*/ 2282889 h 2282889"/>
            </a:gdLst>
            <a:ahLst/>
            <a:cxnLst>
              <a:cxn ang="T10">
                <a:pos x="T0" y="T1"/>
              </a:cxn>
              <a:cxn ang="T11">
                <a:pos x="T2" y="T3"/>
              </a:cxn>
              <a:cxn ang="T12">
                <a:pos x="T4" y="T5"/>
              </a:cxn>
              <a:cxn ang="T13">
                <a:pos x="T6" y="T7"/>
              </a:cxn>
              <a:cxn ang="T14">
                <a:pos x="T8" y="T9"/>
              </a:cxn>
            </a:cxnLst>
            <a:rect l="T15" t="T16" r="T17" b="T18"/>
            <a:pathLst>
              <a:path w="1853682" h="2282889">
                <a:moveTo>
                  <a:pt x="136849" y="0"/>
                </a:moveTo>
                <a:lnTo>
                  <a:pt x="1853682" y="2282889"/>
                </a:lnTo>
                <a:lnTo>
                  <a:pt x="1698171" y="2282889"/>
                </a:lnTo>
                <a:lnTo>
                  <a:pt x="0" y="1107232"/>
                </a:lnTo>
                <a:lnTo>
                  <a:pt x="136849" y="0"/>
                </a:lnTo>
                <a:close/>
              </a:path>
            </a:pathLst>
          </a:custGeom>
          <a:solidFill>
            <a:srgbClr val="13879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任意多边形 38"/>
          <p:cNvSpPr>
            <a:spLocks noChangeArrowheads="1"/>
          </p:cNvSpPr>
          <p:nvPr/>
        </p:nvSpPr>
        <p:spPr bwMode="auto">
          <a:xfrm>
            <a:off x="2562225" y="-42863"/>
            <a:ext cx="1412875" cy="1858963"/>
          </a:xfrm>
          <a:custGeom>
            <a:avLst/>
            <a:gdLst>
              <a:gd name="T0" fmla="*/ 1069910 w 1393372"/>
              <a:gd name="T1" fmla="*/ 6220 h 1847461"/>
              <a:gd name="T2" fmla="*/ 1393372 w 1393372"/>
              <a:gd name="T3" fmla="*/ 0 h 1847461"/>
              <a:gd name="T4" fmla="*/ 1076131 w 1393372"/>
              <a:gd name="T5" fmla="*/ 1835020 h 1847461"/>
              <a:gd name="T6" fmla="*/ 0 w 1393372"/>
              <a:gd name="T7" fmla="*/ 1847461 h 1847461"/>
              <a:gd name="T8" fmla="*/ 1069910 w 1393372"/>
              <a:gd name="T9" fmla="*/ 6220 h 1847461"/>
              <a:gd name="T10" fmla="*/ 0 60000 65536"/>
              <a:gd name="T11" fmla="*/ 0 60000 65536"/>
              <a:gd name="T12" fmla="*/ 0 60000 65536"/>
              <a:gd name="T13" fmla="*/ 0 60000 65536"/>
              <a:gd name="T14" fmla="*/ 0 60000 65536"/>
              <a:gd name="T15" fmla="*/ 0 w 1393372"/>
              <a:gd name="T16" fmla="*/ 0 h 1847461"/>
              <a:gd name="T17" fmla="*/ 1393372 w 1393372"/>
              <a:gd name="T18" fmla="*/ 1847461 h 1847461"/>
            </a:gdLst>
            <a:ahLst/>
            <a:cxnLst>
              <a:cxn ang="T10">
                <a:pos x="T0" y="T1"/>
              </a:cxn>
              <a:cxn ang="T11">
                <a:pos x="T2" y="T3"/>
              </a:cxn>
              <a:cxn ang="T12">
                <a:pos x="T4" y="T5"/>
              </a:cxn>
              <a:cxn ang="T13">
                <a:pos x="T6" y="T7"/>
              </a:cxn>
              <a:cxn ang="T14">
                <a:pos x="T8" y="T9"/>
              </a:cxn>
            </a:cxnLst>
            <a:rect l="T15" t="T16" r="T17" b="T18"/>
            <a:pathLst>
              <a:path w="1393372" h="1847461">
                <a:moveTo>
                  <a:pt x="1069910" y="6220"/>
                </a:moveTo>
                <a:lnTo>
                  <a:pt x="1393372" y="0"/>
                </a:lnTo>
                <a:lnTo>
                  <a:pt x="1076131" y="1835020"/>
                </a:lnTo>
                <a:lnTo>
                  <a:pt x="0" y="1847461"/>
                </a:lnTo>
                <a:lnTo>
                  <a:pt x="1069910" y="6220"/>
                </a:lnTo>
                <a:close/>
              </a:path>
            </a:pathLst>
          </a:custGeom>
          <a:solidFill>
            <a:srgbClr val="14688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任意多边形 47"/>
          <p:cNvSpPr>
            <a:spLocks noChangeArrowheads="1"/>
          </p:cNvSpPr>
          <p:nvPr/>
        </p:nvSpPr>
        <p:spPr bwMode="auto">
          <a:xfrm>
            <a:off x="4273550" y="330200"/>
            <a:ext cx="223838" cy="714375"/>
          </a:xfrm>
          <a:custGeom>
            <a:avLst/>
            <a:gdLst>
              <a:gd name="T0" fmla="*/ 0 w 223935"/>
              <a:gd name="T1" fmla="*/ 0 h 715347"/>
              <a:gd name="T2" fmla="*/ 223935 w 223935"/>
              <a:gd name="T3" fmla="*/ 628261 h 715347"/>
              <a:gd name="T4" fmla="*/ 62204 w 223935"/>
              <a:gd name="T5" fmla="*/ 715347 h 715347"/>
              <a:gd name="T6" fmla="*/ 0 w 223935"/>
              <a:gd name="T7" fmla="*/ 0 h 715347"/>
              <a:gd name="T8" fmla="*/ 0 60000 65536"/>
              <a:gd name="T9" fmla="*/ 0 60000 65536"/>
              <a:gd name="T10" fmla="*/ 0 60000 65536"/>
              <a:gd name="T11" fmla="*/ 0 60000 65536"/>
              <a:gd name="T12" fmla="*/ 0 w 223935"/>
              <a:gd name="T13" fmla="*/ 0 h 715347"/>
              <a:gd name="T14" fmla="*/ 223935 w 223935"/>
              <a:gd name="T15" fmla="*/ 715347 h 715347"/>
            </a:gdLst>
            <a:ahLst/>
            <a:cxnLst>
              <a:cxn ang="T8">
                <a:pos x="T0" y="T1"/>
              </a:cxn>
              <a:cxn ang="T9">
                <a:pos x="T2" y="T3"/>
              </a:cxn>
              <a:cxn ang="T10">
                <a:pos x="T4" y="T5"/>
              </a:cxn>
              <a:cxn ang="T11">
                <a:pos x="T6" y="T7"/>
              </a:cxn>
            </a:cxnLst>
            <a:rect l="T12" t="T13" r="T14" b="T15"/>
            <a:pathLst>
              <a:path w="223935" h="715347">
                <a:moveTo>
                  <a:pt x="0" y="0"/>
                </a:moveTo>
                <a:lnTo>
                  <a:pt x="223935" y="628261"/>
                </a:lnTo>
                <a:lnTo>
                  <a:pt x="62204" y="715347"/>
                </a:lnTo>
                <a:lnTo>
                  <a:pt x="0" y="0"/>
                </a:lnTo>
                <a:close/>
              </a:path>
            </a:pathLst>
          </a:custGeom>
          <a:solidFill>
            <a:srgbClr val="28AEE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0" name="任意多边形 24"/>
          <p:cNvSpPr>
            <a:spLocks noChangeArrowheads="1"/>
          </p:cNvSpPr>
          <p:nvPr/>
        </p:nvSpPr>
        <p:spPr bwMode="auto">
          <a:xfrm>
            <a:off x="-117475" y="-55563"/>
            <a:ext cx="317500" cy="280988"/>
          </a:xfrm>
          <a:custGeom>
            <a:avLst/>
            <a:gdLst>
              <a:gd name="T0" fmla="*/ 37322 w 317241"/>
              <a:gd name="T1" fmla="*/ 255036 h 279918"/>
              <a:gd name="T2" fmla="*/ 118188 w 317241"/>
              <a:gd name="T3" fmla="*/ 279918 h 279918"/>
              <a:gd name="T4" fmla="*/ 317241 w 317241"/>
              <a:gd name="T5" fmla="*/ 0 h 279918"/>
              <a:gd name="T6" fmla="*/ 0 w 317241"/>
              <a:gd name="T7" fmla="*/ 6220 h 279918"/>
              <a:gd name="T8" fmla="*/ 37322 w 317241"/>
              <a:gd name="T9" fmla="*/ 255036 h 279918"/>
              <a:gd name="T10" fmla="*/ 0 60000 65536"/>
              <a:gd name="T11" fmla="*/ 0 60000 65536"/>
              <a:gd name="T12" fmla="*/ 0 60000 65536"/>
              <a:gd name="T13" fmla="*/ 0 60000 65536"/>
              <a:gd name="T14" fmla="*/ 0 60000 65536"/>
              <a:gd name="T15" fmla="*/ 0 w 317241"/>
              <a:gd name="T16" fmla="*/ 0 h 279918"/>
              <a:gd name="T17" fmla="*/ 317241 w 317241"/>
              <a:gd name="T18" fmla="*/ 279918 h 279918"/>
            </a:gdLst>
            <a:ahLst/>
            <a:cxnLst>
              <a:cxn ang="T10">
                <a:pos x="T0" y="T1"/>
              </a:cxn>
              <a:cxn ang="T11">
                <a:pos x="T2" y="T3"/>
              </a:cxn>
              <a:cxn ang="T12">
                <a:pos x="T4" y="T5"/>
              </a:cxn>
              <a:cxn ang="T13">
                <a:pos x="T6" y="T7"/>
              </a:cxn>
              <a:cxn ang="T14">
                <a:pos x="T8" y="T9"/>
              </a:cxn>
            </a:cxnLst>
            <a:rect l="T15" t="T16" r="T17" b="T18"/>
            <a:pathLst>
              <a:path w="317241" h="279918">
                <a:moveTo>
                  <a:pt x="37322" y="255036"/>
                </a:moveTo>
                <a:lnTo>
                  <a:pt x="118188" y="279918"/>
                </a:lnTo>
                <a:lnTo>
                  <a:pt x="317241" y="0"/>
                </a:lnTo>
                <a:lnTo>
                  <a:pt x="0" y="6220"/>
                </a:lnTo>
                <a:lnTo>
                  <a:pt x="37322" y="255036"/>
                </a:lnTo>
                <a:close/>
              </a:path>
            </a:pathLst>
          </a:custGeom>
          <a:solidFill>
            <a:srgbClr val="07AA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任意多边形 39"/>
          <p:cNvSpPr>
            <a:spLocks noChangeArrowheads="1"/>
          </p:cNvSpPr>
          <p:nvPr/>
        </p:nvSpPr>
        <p:spPr bwMode="auto">
          <a:xfrm>
            <a:off x="2289175" y="-12700"/>
            <a:ext cx="696913" cy="908050"/>
          </a:xfrm>
          <a:custGeom>
            <a:avLst/>
            <a:gdLst>
              <a:gd name="T0" fmla="*/ 12441 w 690466"/>
              <a:gd name="T1" fmla="*/ 883298 h 883298"/>
              <a:gd name="T2" fmla="*/ 690466 w 690466"/>
              <a:gd name="T3" fmla="*/ 298579 h 883298"/>
              <a:gd name="T4" fmla="*/ 155511 w 690466"/>
              <a:gd name="T5" fmla="*/ 0 h 883298"/>
              <a:gd name="T6" fmla="*/ 0 w 690466"/>
              <a:gd name="T7" fmla="*/ 6220 h 883298"/>
              <a:gd name="T8" fmla="*/ 12441 w 690466"/>
              <a:gd name="T9" fmla="*/ 883298 h 883298"/>
              <a:gd name="T10" fmla="*/ 0 60000 65536"/>
              <a:gd name="T11" fmla="*/ 0 60000 65536"/>
              <a:gd name="T12" fmla="*/ 0 60000 65536"/>
              <a:gd name="T13" fmla="*/ 0 60000 65536"/>
              <a:gd name="T14" fmla="*/ 0 60000 65536"/>
              <a:gd name="T15" fmla="*/ 0 w 690466"/>
              <a:gd name="T16" fmla="*/ 0 h 883298"/>
              <a:gd name="T17" fmla="*/ 690466 w 690466"/>
              <a:gd name="T18" fmla="*/ 883298 h 883298"/>
            </a:gdLst>
            <a:ahLst/>
            <a:cxnLst>
              <a:cxn ang="T10">
                <a:pos x="T0" y="T1"/>
              </a:cxn>
              <a:cxn ang="T11">
                <a:pos x="T2" y="T3"/>
              </a:cxn>
              <a:cxn ang="T12">
                <a:pos x="T4" y="T5"/>
              </a:cxn>
              <a:cxn ang="T13">
                <a:pos x="T6" y="T7"/>
              </a:cxn>
              <a:cxn ang="T14">
                <a:pos x="T8" y="T9"/>
              </a:cxn>
            </a:cxnLst>
            <a:rect l="T15" t="T16" r="T17" b="T18"/>
            <a:pathLst>
              <a:path w="690466" h="883298">
                <a:moveTo>
                  <a:pt x="12441" y="883298"/>
                </a:moveTo>
                <a:lnTo>
                  <a:pt x="690466" y="298579"/>
                </a:lnTo>
                <a:lnTo>
                  <a:pt x="155511" y="0"/>
                </a:lnTo>
                <a:lnTo>
                  <a:pt x="0" y="6220"/>
                </a:lnTo>
                <a:lnTo>
                  <a:pt x="12441" y="883298"/>
                </a:lnTo>
                <a:close/>
              </a:path>
            </a:pathLst>
          </a:custGeom>
          <a:solidFill>
            <a:srgbClr val="17B7D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2" name="任意多边形 31"/>
          <p:cNvSpPr>
            <a:spLocks noChangeArrowheads="1"/>
          </p:cNvSpPr>
          <p:nvPr/>
        </p:nvSpPr>
        <p:spPr bwMode="auto">
          <a:xfrm>
            <a:off x="2879725" y="1797050"/>
            <a:ext cx="771525" cy="2214563"/>
          </a:xfrm>
          <a:custGeom>
            <a:avLst/>
            <a:gdLst>
              <a:gd name="T0" fmla="*/ 0 w 765110"/>
              <a:gd name="T1" fmla="*/ 1816359 h 2202024"/>
              <a:gd name="T2" fmla="*/ 765110 w 765110"/>
              <a:gd name="T3" fmla="*/ 0 h 2202024"/>
              <a:gd name="T4" fmla="*/ 485192 w 765110"/>
              <a:gd name="T5" fmla="*/ 2202024 h 2202024"/>
              <a:gd name="T6" fmla="*/ 0 w 765110"/>
              <a:gd name="T7" fmla="*/ 1816359 h 2202024"/>
              <a:gd name="T8" fmla="*/ 0 60000 65536"/>
              <a:gd name="T9" fmla="*/ 0 60000 65536"/>
              <a:gd name="T10" fmla="*/ 0 60000 65536"/>
              <a:gd name="T11" fmla="*/ 0 60000 65536"/>
              <a:gd name="T12" fmla="*/ 0 w 765110"/>
              <a:gd name="T13" fmla="*/ 0 h 2202024"/>
              <a:gd name="T14" fmla="*/ 765110 w 765110"/>
              <a:gd name="T15" fmla="*/ 2202024 h 2202024"/>
            </a:gdLst>
            <a:ahLst/>
            <a:cxnLst>
              <a:cxn ang="T8">
                <a:pos x="T0" y="T1"/>
              </a:cxn>
              <a:cxn ang="T9">
                <a:pos x="T2" y="T3"/>
              </a:cxn>
              <a:cxn ang="T10">
                <a:pos x="T4" y="T5"/>
              </a:cxn>
              <a:cxn ang="T11">
                <a:pos x="T6" y="T7"/>
              </a:cxn>
            </a:cxnLst>
            <a:rect l="T12" t="T13" r="T14" b="T15"/>
            <a:pathLst>
              <a:path w="765110" h="2202024">
                <a:moveTo>
                  <a:pt x="0" y="1816359"/>
                </a:moveTo>
                <a:lnTo>
                  <a:pt x="765110" y="0"/>
                </a:lnTo>
                <a:lnTo>
                  <a:pt x="485192" y="2202024"/>
                </a:lnTo>
                <a:lnTo>
                  <a:pt x="0" y="1816359"/>
                </a:lnTo>
                <a:close/>
              </a:path>
            </a:pathLst>
          </a:custGeom>
          <a:solidFill>
            <a:srgbClr val="F5942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任意多边形 11"/>
          <p:cNvSpPr>
            <a:spLocks noChangeArrowheads="1"/>
          </p:cNvSpPr>
          <p:nvPr/>
        </p:nvSpPr>
        <p:spPr bwMode="auto">
          <a:xfrm>
            <a:off x="2146300" y="3702050"/>
            <a:ext cx="1044575" cy="1647825"/>
          </a:xfrm>
          <a:custGeom>
            <a:avLst/>
            <a:gdLst>
              <a:gd name="T0" fmla="*/ 0 w 1007706"/>
              <a:gd name="T1" fmla="*/ 0 h 1561323"/>
              <a:gd name="T2" fmla="*/ 541176 w 1007706"/>
              <a:gd name="T3" fmla="*/ 99527 h 1561323"/>
              <a:gd name="T4" fmla="*/ 1007706 w 1007706"/>
              <a:gd name="T5" fmla="*/ 1561323 h 1561323"/>
              <a:gd name="T6" fmla="*/ 0 w 1007706"/>
              <a:gd name="T7" fmla="*/ 0 h 1561323"/>
              <a:gd name="T8" fmla="*/ 0 60000 65536"/>
              <a:gd name="T9" fmla="*/ 0 60000 65536"/>
              <a:gd name="T10" fmla="*/ 0 60000 65536"/>
              <a:gd name="T11" fmla="*/ 0 60000 65536"/>
              <a:gd name="T12" fmla="*/ 0 w 1007706"/>
              <a:gd name="T13" fmla="*/ 0 h 1561323"/>
              <a:gd name="T14" fmla="*/ 1007706 w 1007706"/>
              <a:gd name="T15" fmla="*/ 1561323 h 1561323"/>
            </a:gdLst>
            <a:ahLst/>
            <a:cxnLst>
              <a:cxn ang="T8">
                <a:pos x="T0" y="T1"/>
              </a:cxn>
              <a:cxn ang="T9">
                <a:pos x="T2" y="T3"/>
              </a:cxn>
              <a:cxn ang="T10">
                <a:pos x="T4" y="T5"/>
              </a:cxn>
              <a:cxn ang="T11">
                <a:pos x="T6" y="T7"/>
              </a:cxn>
            </a:cxnLst>
            <a:rect l="T12" t="T13" r="T14" b="T15"/>
            <a:pathLst>
              <a:path w="1007706" h="1561323">
                <a:moveTo>
                  <a:pt x="0" y="0"/>
                </a:moveTo>
                <a:lnTo>
                  <a:pt x="541176" y="99527"/>
                </a:lnTo>
                <a:lnTo>
                  <a:pt x="1007706" y="1561323"/>
                </a:lnTo>
                <a:lnTo>
                  <a:pt x="0" y="0"/>
                </a:lnTo>
                <a:close/>
              </a:path>
            </a:pathLst>
          </a:custGeom>
          <a:solidFill>
            <a:srgbClr val="250C0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4" name="任意多边形 13"/>
          <p:cNvSpPr>
            <a:spLocks noChangeArrowheads="1"/>
          </p:cNvSpPr>
          <p:nvPr/>
        </p:nvSpPr>
        <p:spPr bwMode="auto">
          <a:xfrm>
            <a:off x="1741488" y="1717675"/>
            <a:ext cx="447675" cy="2070100"/>
          </a:xfrm>
          <a:custGeom>
            <a:avLst/>
            <a:gdLst>
              <a:gd name="T0" fmla="*/ 404327 w 404327"/>
              <a:gd name="T1" fmla="*/ 1897225 h 1897225"/>
              <a:gd name="T2" fmla="*/ 0 w 404327"/>
              <a:gd name="T3" fmla="*/ 1281404 h 1897225"/>
              <a:gd name="T4" fmla="*/ 311021 w 404327"/>
              <a:gd name="T5" fmla="*/ 0 h 1897225"/>
              <a:gd name="T6" fmla="*/ 404327 w 404327"/>
              <a:gd name="T7" fmla="*/ 1897225 h 1897225"/>
              <a:gd name="T8" fmla="*/ 0 60000 65536"/>
              <a:gd name="T9" fmla="*/ 0 60000 65536"/>
              <a:gd name="T10" fmla="*/ 0 60000 65536"/>
              <a:gd name="T11" fmla="*/ 0 60000 65536"/>
              <a:gd name="T12" fmla="*/ 0 w 404327"/>
              <a:gd name="T13" fmla="*/ 0 h 1897225"/>
              <a:gd name="T14" fmla="*/ 404327 w 404327"/>
              <a:gd name="T15" fmla="*/ 1897225 h 1897225"/>
            </a:gdLst>
            <a:ahLst/>
            <a:cxnLst>
              <a:cxn ang="T8">
                <a:pos x="T0" y="T1"/>
              </a:cxn>
              <a:cxn ang="T9">
                <a:pos x="T2" y="T3"/>
              </a:cxn>
              <a:cxn ang="T10">
                <a:pos x="T4" y="T5"/>
              </a:cxn>
              <a:cxn ang="T11">
                <a:pos x="T6" y="T7"/>
              </a:cxn>
            </a:cxnLst>
            <a:rect l="T12" t="T13" r="T14" b="T15"/>
            <a:pathLst>
              <a:path w="404327" h="1897225">
                <a:moveTo>
                  <a:pt x="404327" y="1897225"/>
                </a:moveTo>
                <a:lnTo>
                  <a:pt x="0" y="1281404"/>
                </a:lnTo>
                <a:lnTo>
                  <a:pt x="311021" y="0"/>
                </a:lnTo>
                <a:lnTo>
                  <a:pt x="404327" y="1897225"/>
                </a:lnTo>
                <a:close/>
              </a:path>
            </a:pathLst>
          </a:custGeom>
          <a:solidFill>
            <a:srgbClr val="EC25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任意多边形 7"/>
          <p:cNvSpPr>
            <a:spLocks noChangeArrowheads="1"/>
          </p:cNvSpPr>
          <p:nvPr/>
        </p:nvSpPr>
        <p:spPr bwMode="auto">
          <a:xfrm>
            <a:off x="-85725" y="428625"/>
            <a:ext cx="3146425" cy="4740275"/>
          </a:xfrm>
          <a:custGeom>
            <a:avLst/>
            <a:gdLst>
              <a:gd name="T0" fmla="*/ 0 w 3147527"/>
              <a:gd name="T1" fmla="*/ 0 h 4708849"/>
              <a:gd name="T2" fmla="*/ 1219200 w 3147527"/>
              <a:gd name="T3" fmla="*/ 1324947 h 4708849"/>
              <a:gd name="T4" fmla="*/ 1175657 w 3147527"/>
              <a:gd name="T5" fmla="*/ 2481943 h 4708849"/>
              <a:gd name="T6" fmla="*/ 2233127 w 3147527"/>
              <a:gd name="T7" fmla="*/ 3228392 h 4708849"/>
              <a:gd name="T8" fmla="*/ 3147527 w 3147527"/>
              <a:gd name="T9" fmla="*/ 4696408 h 4708849"/>
              <a:gd name="T10" fmla="*/ 18662 w 3147527"/>
              <a:gd name="T11" fmla="*/ 4708849 h 4708849"/>
              <a:gd name="T12" fmla="*/ 0 w 3147527"/>
              <a:gd name="T13" fmla="*/ 0 h 4708849"/>
              <a:gd name="T14" fmla="*/ 0 60000 65536"/>
              <a:gd name="T15" fmla="*/ 0 60000 65536"/>
              <a:gd name="T16" fmla="*/ 0 60000 65536"/>
              <a:gd name="T17" fmla="*/ 0 60000 65536"/>
              <a:gd name="T18" fmla="*/ 0 60000 65536"/>
              <a:gd name="T19" fmla="*/ 0 60000 65536"/>
              <a:gd name="T20" fmla="*/ 0 60000 65536"/>
              <a:gd name="T21" fmla="*/ 0 w 3147527"/>
              <a:gd name="T22" fmla="*/ 0 h 4708849"/>
              <a:gd name="T23" fmla="*/ 3147527 w 3147527"/>
              <a:gd name="T24" fmla="*/ 4708849 h 47088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47527" h="4708849">
                <a:moveTo>
                  <a:pt x="0" y="0"/>
                </a:moveTo>
                <a:lnTo>
                  <a:pt x="1219200" y="1324947"/>
                </a:lnTo>
                <a:lnTo>
                  <a:pt x="1175657" y="2481943"/>
                </a:lnTo>
                <a:lnTo>
                  <a:pt x="2233127" y="3228392"/>
                </a:lnTo>
                <a:lnTo>
                  <a:pt x="3147527" y="4696408"/>
                </a:lnTo>
                <a:lnTo>
                  <a:pt x="18662" y="4708849"/>
                </a:lnTo>
                <a:cubicBezTo>
                  <a:pt x="12441" y="3139233"/>
                  <a:pt x="6221" y="1569616"/>
                  <a:pt x="0" y="0"/>
                </a:cubicBezTo>
                <a:close/>
              </a:path>
            </a:pathLst>
          </a:custGeom>
          <a:solidFill>
            <a:srgbClr val="FCB7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任意多边形 8"/>
          <p:cNvSpPr>
            <a:spLocks noChangeArrowheads="1"/>
          </p:cNvSpPr>
          <p:nvPr/>
        </p:nvSpPr>
        <p:spPr bwMode="auto">
          <a:xfrm>
            <a:off x="1965325" y="3683000"/>
            <a:ext cx="1108075" cy="1473200"/>
          </a:xfrm>
          <a:custGeom>
            <a:avLst/>
            <a:gdLst>
              <a:gd name="T0" fmla="*/ 174171 w 1076131"/>
              <a:gd name="T1" fmla="*/ 0 h 1474237"/>
              <a:gd name="T2" fmla="*/ 0 w 1076131"/>
              <a:gd name="T3" fmla="*/ 1474237 h 1474237"/>
              <a:gd name="T4" fmla="*/ 1076131 w 1076131"/>
              <a:gd name="T5" fmla="*/ 1474237 h 1474237"/>
              <a:gd name="T6" fmla="*/ 174171 w 1076131"/>
              <a:gd name="T7" fmla="*/ 0 h 1474237"/>
              <a:gd name="T8" fmla="*/ 0 60000 65536"/>
              <a:gd name="T9" fmla="*/ 0 60000 65536"/>
              <a:gd name="T10" fmla="*/ 0 60000 65536"/>
              <a:gd name="T11" fmla="*/ 0 60000 65536"/>
              <a:gd name="T12" fmla="*/ 0 w 1076131"/>
              <a:gd name="T13" fmla="*/ 0 h 1474237"/>
              <a:gd name="T14" fmla="*/ 1076131 w 1076131"/>
              <a:gd name="T15" fmla="*/ 1474237 h 1474237"/>
            </a:gdLst>
            <a:ahLst/>
            <a:cxnLst>
              <a:cxn ang="T8">
                <a:pos x="T0" y="T1"/>
              </a:cxn>
              <a:cxn ang="T9">
                <a:pos x="T2" y="T3"/>
              </a:cxn>
              <a:cxn ang="T10">
                <a:pos x="T4" y="T5"/>
              </a:cxn>
              <a:cxn ang="T11">
                <a:pos x="T6" y="T7"/>
              </a:cxn>
            </a:cxnLst>
            <a:rect l="T12" t="T13" r="T14" b="T15"/>
            <a:pathLst>
              <a:path w="1076131" h="1474237">
                <a:moveTo>
                  <a:pt x="174171" y="0"/>
                </a:moveTo>
                <a:lnTo>
                  <a:pt x="0" y="1474237"/>
                </a:lnTo>
                <a:lnTo>
                  <a:pt x="1076131" y="1474237"/>
                </a:lnTo>
                <a:lnTo>
                  <a:pt x="174171" y="0"/>
                </a:lnTo>
                <a:close/>
              </a:path>
            </a:pathLst>
          </a:custGeom>
          <a:solidFill>
            <a:srgbClr val="F8A11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任意多边形 9"/>
          <p:cNvSpPr>
            <a:spLocks noChangeArrowheads="1"/>
          </p:cNvSpPr>
          <p:nvPr/>
        </p:nvSpPr>
        <p:spPr bwMode="auto">
          <a:xfrm>
            <a:off x="814388" y="3241675"/>
            <a:ext cx="1331912" cy="1920875"/>
          </a:xfrm>
          <a:custGeom>
            <a:avLst/>
            <a:gdLst>
              <a:gd name="T0" fmla="*/ 1337388 w 1337388"/>
              <a:gd name="T1" fmla="*/ 454090 h 1909666"/>
              <a:gd name="T2" fmla="*/ 0 w 1337388"/>
              <a:gd name="T3" fmla="*/ 0 h 1909666"/>
              <a:gd name="T4" fmla="*/ 1169437 w 1337388"/>
              <a:gd name="T5" fmla="*/ 1909666 h 1909666"/>
              <a:gd name="T6" fmla="*/ 1337388 w 1337388"/>
              <a:gd name="T7" fmla="*/ 454090 h 1909666"/>
              <a:gd name="T8" fmla="*/ 0 60000 65536"/>
              <a:gd name="T9" fmla="*/ 0 60000 65536"/>
              <a:gd name="T10" fmla="*/ 0 60000 65536"/>
              <a:gd name="T11" fmla="*/ 0 60000 65536"/>
              <a:gd name="T12" fmla="*/ 0 w 1337388"/>
              <a:gd name="T13" fmla="*/ 0 h 1909666"/>
              <a:gd name="T14" fmla="*/ 1337388 w 1337388"/>
              <a:gd name="T15" fmla="*/ 1909666 h 1909666"/>
            </a:gdLst>
            <a:ahLst/>
            <a:cxnLst>
              <a:cxn ang="T8">
                <a:pos x="T0" y="T1"/>
              </a:cxn>
              <a:cxn ang="T9">
                <a:pos x="T2" y="T3"/>
              </a:cxn>
              <a:cxn ang="T10">
                <a:pos x="T4" y="T5"/>
              </a:cxn>
              <a:cxn ang="T11">
                <a:pos x="T6" y="T7"/>
              </a:cxn>
            </a:cxnLst>
            <a:rect l="T12" t="T13" r="T14" b="T15"/>
            <a:pathLst>
              <a:path w="1337388" h="1909666">
                <a:moveTo>
                  <a:pt x="1337388" y="454090"/>
                </a:moveTo>
                <a:lnTo>
                  <a:pt x="0" y="0"/>
                </a:lnTo>
                <a:lnTo>
                  <a:pt x="1169437" y="1909666"/>
                </a:lnTo>
                <a:lnTo>
                  <a:pt x="1337388" y="454090"/>
                </a:lnTo>
                <a:close/>
              </a:path>
            </a:pathLst>
          </a:custGeom>
          <a:solidFill>
            <a:srgbClr val="F4932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任意多边形 10"/>
          <p:cNvSpPr>
            <a:spLocks noChangeArrowheads="1"/>
          </p:cNvSpPr>
          <p:nvPr/>
        </p:nvSpPr>
        <p:spPr bwMode="auto">
          <a:xfrm>
            <a:off x="796925" y="3203575"/>
            <a:ext cx="938213" cy="1965325"/>
          </a:xfrm>
          <a:custGeom>
            <a:avLst/>
            <a:gdLst>
              <a:gd name="T0" fmla="*/ 0 w 920621"/>
              <a:gd name="T1" fmla="*/ 0 h 1922106"/>
              <a:gd name="T2" fmla="*/ 920621 w 920621"/>
              <a:gd name="T3" fmla="*/ 1922106 h 1922106"/>
              <a:gd name="T4" fmla="*/ 534955 w 920621"/>
              <a:gd name="T5" fmla="*/ 1922106 h 1922106"/>
              <a:gd name="T6" fmla="*/ 0 w 920621"/>
              <a:gd name="T7" fmla="*/ 0 h 1922106"/>
              <a:gd name="T8" fmla="*/ 0 60000 65536"/>
              <a:gd name="T9" fmla="*/ 0 60000 65536"/>
              <a:gd name="T10" fmla="*/ 0 60000 65536"/>
              <a:gd name="T11" fmla="*/ 0 60000 65536"/>
              <a:gd name="T12" fmla="*/ 0 w 920621"/>
              <a:gd name="T13" fmla="*/ 0 h 1922106"/>
              <a:gd name="T14" fmla="*/ 920621 w 920621"/>
              <a:gd name="T15" fmla="*/ 1922106 h 1922106"/>
            </a:gdLst>
            <a:ahLst/>
            <a:cxnLst>
              <a:cxn ang="T8">
                <a:pos x="T0" y="T1"/>
              </a:cxn>
              <a:cxn ang="T9">
                <a:pos x="T2" y="T3"/>
              </a:cxn>
              <a:cxn ang="T10">
                <a:pos x="T4" y="T5"/>
              </a:cxn>
              <a:cxn ang="T11">
                <a:pos x="T6" y="T7"/>
              </a:cxn>
            </a:cxnLst>
            <a:rect l="T12" t="T13" r="T14" b="T15"/>
            <a:pathLst>
              <a:path w="920621" h="1922106">
                <a:moveTo>
                  <a:pt x="0" y="0"/>
                </a:moveTo>
                <a:lnTo>
                  <a:pt x="920621" y="1922106"/>
                </a:lnTo>
                <a:lnTo>
                  <a:pt x="534955" y="1922106"/>
                </a:lnTo>
                <a:lnTo>
                  <a:pt x="0" y="0"/>
                </a:lnTo>
                <a:close/>
              </a:path>
            </a:pathLst>
          </a:custGeom>
          <a:solidFill>
            <a:srgbClr val="F9A81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9" name="任意多边形 12"/>
          <p:cNvSpPr>
            <a:spLocks noChangeArrowheads="1"/>
          </p:cNvSpPr>
          <p:nvPr/>
        </p:nvSpPr>
        <p:spPr bwMode="auto">
          <a:xfrm>
            <a:off x="2089150" y="1784350"/>
            <a:ext cx="622300" cy="2035175"/>
          </a:xfrm>
          <a:custGeom>
            <a:avLst/>
            <a:gdLst>
              <a:gd name="T0" fmla="*/ 68425 w 609600"/>
              <a:gd name="T1" fmla="*/ 1884784 h 1996751"/>
              <a:gd name="T2" fmla="*/ 0 w 609600"/>
              <a:gd name="T3" fmla="*/ 0 h 1996751"/>
              <a:gd name="T4" fmla="*/ 609600 w 609600"/>
              <a:gd name="T5" fmla="*/ 1996751 h 1996751"/>
              <a:gd name="T6" fmla="*/ 68425 w 609600"/>
              <a:gd name="T7" fmla="*/ 1884784 h 1996751"/>
              <a:gd name="T8" fmla="*/ 0 60000 65536"/>
              <a:gd name="T9" fmla="*/ 0 60000 65536"/>
              <a:gd name="T10" fmla="*/ 0 60000 65536"/>
              <a:gd name="T11" fmla="*/ 0 60000 65536"/>
              <a:gd name="T12" fmla="*/ 0 w 609600"/>
              <a:gd name="T13" fmla="*/ 0 h 1996751"/>
              <a:gd name="T14" fmla="*/ 609600 w 609600"/>
              <a:gd name="T15" fmla="*/ 1996751 h 1996751"/>
            </a:gdLst>
            <a:ahLst/>
            <a:cxnLst>
              <a:cxn ang="T8">
                <a:pos x="T0" y="T1"/>
              </a:cxn>
              <a:cxn ang="T9">
                <a:pos x="T2" y="T3"/>
              </a:cxn>
              <a:cxn ang="T10">
                <a:pos x="T4" y="T5"/>
              </a:cxn>
              <a:cxn ang="T11">
                <a:pos x="T6" y="T7"/>
              </a:cxn>
            </a:cxnLst>
            <a:rect l="T12" t="T13" r="T14" b="T15"/>
            <a:pathLst>
              <a:path w="609600" h="1996751">
                <a:moveTo>
                  <a:pt x="68425" y="1884784"/>
                </a:moveTo>
                <a:lnTo>
                  <a:pt x="0" y="0"/>
                </a:lnTo>
                <a:lnTo>
                  <a:pt x="609600" y="1996751"/>
                </a:lnTo>
                <a:lnTo>
                  <a:pt x="68425" y="1884784"/>
                </a:lnTo>
                <a:close/>
              </a:path>
            </a:pathLst>
          </a:custGeom>
          <a:solidFill>
            <a:srgbClr val="BE203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任意多边形 14"/>
          <p:cNvSpPr>
            <a:spLocks noChangeArrowheads="1"/>
          </p:cNvSpPr>
          <p:nvPr/>
        </p:nvSpPr>
        <p:spPr bwMode="auto">
          <a:xfrm>
            <a:off x="1909763" y="1268413"/>
            <a:ext cx="1281112" cy="4094162"/>
          </a:xfrm>
          <a:custGeom>
            <a:avLst/>
            <a:gdLst>
              <a:gd name="T0" fmla="*/ 0 w 1262743"/>
              <a:gd name="T1" fmla="*/ 0 h 3999723"/>
              <a:gd name="T2" fmla="*/ 684245 w 1262743"/>
              <a:gd name="T3" fmla="*/ 516294 h 3999723"/>
              <a:gd name="T4" fmla="*/ 1262743 w 1262743"/>
              <a:gd name="T5" fmla="*/ 3999723 h 3999723"/>
              <a:gd name="T6" fmla="*/ 0 w 1262743"/>
              <a:gd name="T7" fmla="*/ 0 h 3999723"/>
              <a:gd name="T8" fmla="*/ 0 60000 65536"/>
              <a:gd name="T9" fmla="*/ 0 60000 65536"/>
              <a:gd name="T10" fmla="*/ 0 60000 65536"/>
              <a:gd name="T11" fmla="*/ 0 60000 65536"/>
              <a:gd name="T12" fmla="*/ 0 w 1262743"/>
              <a:gd name="T13" fmla="*/ 0 h 3999723"/>
              <a:gd name="T14" fmla="*/ 1262743 w 1262743"/>
              <a:gd name="T15" fmla="*/ 3999723 h 3999723"/>
            </a:gdLst>
            <a:ahLst/>
            <a:cxnLst>
              <a:cxn ang="T8">
                <a:pos x="T0" y="T1"/>
              </a:cxn>
              <a:cxn ang="T9">
                <a:pos x="T2" y="T3"/>
              </a:cxn>
              <a:cxn ang="T10">
                <a:pos x="T4" y="T5"/>
              </a:cxn>
              <a:cxn ang="T11">
                <a:pos x="T6" y="T7"/>
              </a:cxn>
            </a:cxnLst>
            <a:rect l="T12" t="T13" r="T14" b="T15"/>
            <a:pathLst>
              <a:path w="1262743" h="3999723">
                <a:moveTo>
                  <a:pt x="0" y="0"/>
                </a:moveTo>
                <a:lnTo>
                  <a:pt x="684245" y="516294"/>
                </a:lnTo>
                <a:lnTo>
                  <a:pt x="1262743" y="3999723"/>
                </a:lnTo>
                <a:lnTo>
                  <a:pt x="0" y="0"/>
                </a:lnTo>
                <a:close/>
              </a:path>
            </a:pathLst>
          </a:custGeom>
          <a:solidFill>
            <a:srgbClr val="EA253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1" name="任意多边形 15"/>
          <p:cNvSpPr>
            <a:spLocks noChangeArrowheads="1"/>
          </p:cNvSpPr>
          <p:nvPr/>
        </p:nvSpPr>
        <p:spPr bwMode="auto">
          <a:xfrm>
            <a:off x="1069975" y="2924175"/>
            <a:ext cx="1076325" cy="776288"/>
          </a:xfrm>
          <a:custGeom>
            <a:avLst/>
            <a:gdLst>
              <a:gd name="T0" fmla="*/ 0 w 1082351"/>
              <a:gd name="T1" fmla="*/ 0 h 777551"/>
              <a:gd name="T2" fmla="*/ 690465 w 1082351"/>
              <a:gd name="T3" fmla="*/ 149290 h 777551"/>
              <a:gd name="T4" fmla="*/ 1082351 w 1082351"/>
              <a:gd name="T5" fmla="*/ 777551 h 777551"/>
              <a:gd name="T6" fmla="*/ 0 w 1082351"/>
              <a:gd name="T7" fmla="*/ 0 h 777551"/>
              <a:gd name="T8" fmla="*/ 0 60000 65536"/>
              <a:gd name="T9" fmla="*/ 0 60000 65536"/>
              <a:gd name="T10" fmla="*/ 0 60000 65536"/>
              <a:gd name="T11" fmla="*/ 0 60000 65536"/>
              <a:gd name="T12" fmla="*/ 0 w 1082351"/>
              <a:gd name="T13" fmla="*/ 0 h 777551"/>
              <a:gd name="T14" fmla="*/ 1082351 w 1082351"/>
              <a:gd name="T15" fmla="*/ 777551 h 777551"/>
            </a:gdLst>
            <a:ahLst/>
            <a:cxnLst>
              <a:cxn ang="T8">
                <a:pos x="T0" y="T1"/>
              </a:cxn>
              <a:cxn ang="T9">
                <a:pos x="T2" y="T3"/>
              </a:cxn>
              <a:cxn ang="T10">
                <a:pos x="T4" y="T5"/>
              </a:cxn>
              <a:cxn ang="T11">
                <a:pos x="T6" y="T7"/>
              </a:cxn>
            </a:cxnLst>
            <a:rect l="T12" t="T13" r="T14" b="T15"/>
            <a:pathLst>
              <a:path w="1082351" h="777551">
                <a:moveTo>
                  <a:pt x="0" y="0"/>
                </a:moveTo>
                <a:lnTo>
                  <a:pt x="690465" y="149290"/>
                </a:lnTo>
                <a:lnTo>
                  <a:pt x="1082351" y="777551"/>
                </a:lnTo>
                <a:lnTo>
                  <a:pt x="0" y="0"/>
                </a:lnTo>
                <a:close/>
              </a:path>
            </a:pathLst>
          </a:custGeom>
          <a:solidFill>
            <a:srgbClr val="4EC1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2" name="任意多边形 16"/>
          <p:cNvSpPr>
            <a:spLocks noChangeArrowheads="1"/>
          </p:cNvSpPr>
          <p:nvPr/>
        </p:nvSpPr>
        <p:spPr bwMode="auto">
          <a:xfrm>
            <a:off x="1076325" y="1784350"/>
            <a:ext cx="1001713" cy="1300163"/>
          </a:xfrm>
          <a:custGeom>
            <a:avLst/>
            <a:gdLst>
              <a:gd name="T0" fmla="*/ 0 w 976604"/>
              <a:gd name="T1" fmla="*/ 1132114 h 1287624"/>
              <a:gd name="T2" fmla="*/ 976604 w 976604"/>
              <a:gd name="T3" fmla="*/ 0 h 1287624"/>
              <a:gd name="T4" fmla="*/ 659363 w 976604"/>
              <a:gd name="T5" fmla="*/ 1287624 h 1287624"/>
              <a:gd name="T6" fmla="*/ 0 w 976604"/>
              <a:gd name="T7" fmla="*/ 1132114 h 1287624"/>
              <a:gd name="T8" fmla="*/ 0 60000 65536"/>
              <a:gd name="T9" fmla="*/ 0 60000 65536"/>
              <a:gd name="T10" fmla="*/ 0 60000 65536"/>
              <a:gd name="T11" fmla="*/ 0 60000 65536"/>
              <a:gd name="T12" fmla="*/ 0 w 976604"/>
              <a:gd name="T13" fmla="*/ 0 h 1287624"/>
              <a:gd name="T14" fmla="*/ 976604 w 976604"/>
              <a:gd name="T15" fmla="*/ 1287624 h 1287624"/>
            </a:gdLst>
            <a:ahLst/>
            <a:cxnLst>
              <a:cxn ang="T8">
                <a:pos x="T0" y="T1"/>
              </a:cxn>
              <a:cxn ang="T9">
                <a:pos x="T2" y="T3"/>
              </a:cxn>
              <a:cxn ang="T10">
                <a:pos x="T4" y="T5"/>
              </a:cxn>
              <a:cxn ang="T11">
                <a:pos x="T6" y="T7"/>
              </a:cxn>
            </a:cxnLst>
            <a:rect l="T12" t="T13" r="T14" b="T15"/>
            <a:pathLst>
              <a:path w="976604" h="1287624">
                <a:moveTo>
                  <a:pt x="0" y="1132114"/>
                </a:moveTo>
                <a:lnTo>
                  <a:pt x="976604" y="0"/>
                </a:lnTo>
                <a:lnTo>
                  <a:pt x="659363" y="1287624"/>
                </a:lnTo>
                <a:lnTo>
                  <a:pt x="0" y="1132114"/>
                </a:lnTo>
                <a:close/>
              </a:path>
            </a:pathLst>
          </a:custGeom>
          <a:solidFill>
            <a:srgbClr val="15A9B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3" name="任意多边形 17"/>
          <p:cNvSpPr>
            <a:spLocks noChangeArrowheads="1"/>
          </p:cNvSpPr>
          <p:nvPr/>
        </p:nvSpPr>
        <p:spPr bwMode="auto">
          <a:xfrm>
            <a:off x="1082675" y="1784350"/>
            <a:ext cx="1000125" cy="1144588"/>
          </a:xfrm>
          <a:custGeom>
            <a:avLst/>
            <a:gdLst>
              <a:gd name="T0" fmla="*/ 0 w 1001486"/>
              <a:gd name="T1" fmla="*/ 1144555 h 1144555"/>
              <a:gd name="T2" fmla="*/ 49763 w 1001486"/>
              <a:gd name="T3" fmla="*/ 6221 h 1144555"/>
              <a:gd name="T4" fmla="*/ 1001486 w 1001486"/>
              <a:gd name="T5" fmla="*/ 0 h 1144555"/>
              <a:gd name="T6" fmla="*/ 0 w 1001486"/>
              <a:gd name="T7" fmla="*/ 1144555 h 1144555"/>
              <a:gd name="T8" fmla="*/ 0 60000 65536"/>
              <a:gd name="T9" fmla="*/ 0 60000 65536"/>
              <a:gd name="T10" fmla="*/ 0 60000 65536"/>
              <a:gd name="T11" fmla="*/ 0 60000 65536"/>
              <a:gd name="T12" fmla="*/ 0 w 1001486"/>
              <a:gd name="T13" fmla="*/ 0 h 1144555"/>
              <a:gd name="T14" fmla="*/ 1001486 w 1001486"/>
              <a:gd name="T15" fmla="*/ 1144555 h 1144555"/>
            </a:gdLst>
            <a:ahLst/>
            <a:cxnLst>
              <a:cxn ang="T8">
                <a:pos x="T0" y="T1"/>
              </a:cxn>
              <a:cxn ang="T9">
                <a:pos x="T2" y="T3"/>
              </a:cxn>
              <a:cxn ang="T10">
                <a:pos x="T4" y="T5"/>
              </a:cxn>
              <a:cxn ang="T11">
                <a:pos x="T6" y="T7"/>
              </a:cxn>
            </a:cxnLst>
            <a:rect l="T12" t="T13" r="T14" b="T15"/>
            <a:pathLst>
              <a:path w="1001486" h="1144555">
                <a:moveTo>
                  <a:pt x="0" y="1144555"/>
                </a:moveTo>
                <a:lnTo>
                  <a:pt x="49763" y="6221"/>
                </a:lnTo>
                <a:lnTo>
                  <a:pt x="1001486" y="0"/>
                </a:lnTo>
                <a:lnTo>
                  <a:pt x="0" y="1144555"/>
                </a:lnTo>
                <a:close/>
              </a:path>
            </a:pathLst>
          </a:custGeom>
          <a:solidFill>
            <a:srgbClr val="17B6D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任意多边形 18"/>
          <p:cNvSpPr>
            <a:spLocks noChangeArrowheads="1"/>
          </p:cNvSpPr>
          <p:nvPr/>
        </p:nvSpPr>
        <p:spPr bwMode="auto">
          <a:xfrm>
            <a:off x="1112838" y="1250950"/>
            <a:ext cx="963612" cy="558800"/>
          </a:xfrm>
          <a:custGeom>
            <a:avLst/>
            <a:gdLst>
              <a:gd name="T0" fmla="*/ 0 w 933061"/>
              <a:gd name="T1" fmla="*/ 547396 h 559837"/>
              <a:gd name="T2" fmla="*/ 765110 w 933061"/>
              <a:gd name="T3" fmla="*/ 0 h 559837"/>
              <a:gd name="T4" fmla="*/ 933061 w 933061"/>
              <a:gd name="T5" fmla="*/ 559837 h 559837"/>
              <a:gd name="T6" fmla="*/ 0 w 933061"/>
              <a:gd name="T7" fmla="*/ 547396 h 559837"/>
              <a:gd name="T8" fmla="*/ 0 60000 65536"/>
              <a:gd name="T9" fmla="*/ 0 60000 65536"/>
              <a:gd name="T10" fmla="*/ 0 60000 65536"/>
              <a:gd name="T11" fmla="*/ 0 60000 65536"/>
              <a:gd name="T12" fmla="*/ 0 w 933061"/>
              <a:gd name="T13" fmla="*/ 0 h 559837"/>
              <a:gd name="T14" fmla="*/ 933061 w 933061"/>
              <a:gd name="T15" fmla="*/ 559837 h 559837"/>
            </a:gdLst>
            <a:ahLst/>
            <a:cxnLst>
              <a:cxn ang="T8">
                <a:pos x="T0" y="T1"/>
              </a:cxn>
              <a:cxn ang="T9">
                <a:pos x="T2" y="T3"/>
              </a:cxn>
              <a:cxn ang="T10">
                <a:pos x="T4" y="T5"/>
              </a:cxn>
              <a:cxn ang="T11">
                <a:pos x="T6" y="T7"/>
              </a:cxn>
            </a:cxnLst>
            <a:rect l="T12" t="T13" r="T14" b="T15"/>
            <a:pathLst>
              <a:path w="933061" h="559837">
                <a:moveTo>
                  <a:pt x="0" y="547396"/>
                </a:moveTo>
                <a:lnTo>
                  <a:pt x="765110" y="0"/>
                </a:lnTo>
                <a:lnTo>
                  <a:pt x="933061" y="559837"/>
                </a:lnTo>
                <a:lnTo>
                  <a:pt x="0" y="547396"/>
                </a:lnTo>
                <a:close/>
              </a:path>
            </a:pathLst>
          </a:custGeom>
          <a:solidFill>
            <a:srgbClr val="57C8E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5" name="任意多边形 19"/>
          <p:cNvSpPr>
            <a:spLocks noChangeArrowheads="1"/>
          </p:cNvSpPr>
          <p:nvPr/>
        </p:nvSpPr>
        <p:spPr bwMode="auto">
          <a:xfrm>
            <a:off x="1138238" y="995363"/>
            <a:ext cx="765175" cy="801687"/>
          </a:xfrm>
          <a:custGeom>
            <a:avLst/>
            <a:gdLst>
              <a:gd name="T0" fmla="*/ 236375 w 765110"/>
              <a:gd name="T1" fmla="*/ 0 h 802433"/>
              <a:gd name="T2" fmla="*/ 0 w 765110"/>
              <a:gd name="T3" fmla="*/ 802433 h 802433"/>
              <a:gd name="T4" fmla="*/ 765110 w 765110"/>
              <a:gd name="T5" fmla="*/ 255037 h 802433"/>
              <a:gd name="T6" fmla="*/ 236375 w 765110"/>
              <a:gd name="T7" fmla="*/ 0 h 802433"/>
              <a:gd name="T8" fmla="*/ 0 60000 65536"/>
              <a:gd name="T9" fmla="*/ 0 60000 65536"/>
              <a:gd name="T10" fmla="*/ 0 60000 65536"/>
              <a:gd name="T11" fmla="*/ 0 60000 65536"/>
              <a:gd name="T12" fmla="*/ 0 w 765110"/>
              <a:gd name="T13" fmla="*/ 0 h 802433"/>
              <a:gd name="T14" fmla="*/ 765110 w 765110"/>
              <a:gd name="T15" fmla="*/ 802433 h 802433"/>
            </a:gdLst>
            <a:ahLst/>
            <a:cxnLst>
              <a:cxn ang="T8">
                <a:pos x="T0" y="T1"/>
              </a:cxn>
              <a:cxn ang="T9">
                <a:pos x="T2" y="T3"/>
              </a:cxn>
              <a:cxn ang="T10">
                <a:pos x="T4" y="T5"/>
              </a:cxn>
              <a:cxn ang="T11">
                <a:pos x="T6" y="T7"/>
              </a:cxn>
            </a:cxnLst>
            <a:rect l="T12" t="T13" r="T14" b="T15"/>
            <a:pathLst>
              <a:path w="765110" h="802433">
                <a:moveTo>
                  <a:pt x="236375" y="0"/>
                </a:moveTo>
                <a:lnTo>
                  <a:pt x="0" y="802433"/>
                </a:lnTo>
                <a:lnTo>
                  <a:pt x="765110" y="255037"/>
                </a:lnTo>
                <a:lnTo>
                  <a:pt x="236375" y="0"/>
                </a:lnTo>
                <a:close/>
              </a:path>
            </a:pathLst>
          </a:custGeom>
          <a:solidFill>
            <a:srgbClr val="1AA7B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6" name="任意多边形 20"/>
          <p:cNvSpPr>
            <a:spLocks noChangeArrowheads="1"/>
          </p:cNvSpPr>
          <p:nvPr/>
        </p:nvSpPr>
        <p:spPr bwMode="auto">
          <a:xfrm>
            <a:off x="1268413" y="-74613"/>
            <a:ext cx="635000" cy="1357313"/>
          </a:xfrm>
          <a:custGeom>
            <a:avLst/>
            <a:gdLst>
              <a:gd name="T0" fmla="*/ 105747 w 634481"/>
              <a:gd name="T1" fmla="*/ 1069910 h 1356049"/>
              <a:gd name="T2" fmla="*/ 0 w 634481"/>
              <a:gd name="T3" fmla="*/ 12441 h 1356049"/>
              <a:gd name="T4" fmla="*/ 236375 w 634481"/>
              <a:gd name="T5" fmla="*/ 0 h 1356049"/>
              <a:gd name="T6" fmla="*/ 634481 w 634481"/>
              <a:gd name="T7" fmla="*/ 1356049 h 1356049"/>
              <a:gd name="T8" fmla="*/ 105747 w 634481"/>
              <a:gd name="T9" fmla="*/ 1069910 h 1356049"/>
              <a:gd name="T10" fmla="*/ 0 60000 65536"/>
              <a:gd name="T11" fmla="*/ 0 60000 65536"/>
              <a:gd name="T12" fmla="*/ 0 60000 65536"/>
              <a:gd name="T13" fmla="*/ 0 60000 65536"/>
              <a:gd name="T14" fmla="*/ 0 60000 65536"/>
              <a:gd name="T15" fmla="*/ 0 w 634481"/>
              <a:gd name="T16" fmla="*/ 0 h 1356049"/>
              <a:gd name="T17" fmla="*/ 634481 w 634481"/>
              <a:gd name="T18" fmla="*/ 1356049 h 1356049"/>
            </a:gdLst>
            <a:ahLst/>
            <a:cxnLst>
              <a:cxn ang="T10">
                <a:pos x="T0" y="T1"/>
              </a:cxn>
              <a:cxn ang="T11">
                <a:pos x="T2" y="T3"/>
              </a:cxn>
              <a:cxn ang="T12">
                <a:pos x="T4" y="T5"/>
              </a:cxn>
              <a:cxn ang="T13">
                <a:pos x="T6" y="T7"/>
              </a:cxn>
              <a:cxn ang="T14">
                <a:pos x="T8" y="T9"/>
              </a:cxn>
            </a:cxnLst>
            <a:rect l="T15" t="T16" r="T17" b="T18"/>
            <a:pathLst>
              <a:path w="634481" h="1356049">
                <a:moveTo>
                  <a:pt x="105747" y="1069910"/>
                </a:moveTo>
                <a:lnTo>
                  <a:pt x="0" y="12441"/>
                </a:lnTo>
                <a:lnTo>
                  <a:pt x="236375" y="0"/>
                </a:lnTo>
                <a:lnTo>
                  <a:pt x="634481" y="1356049"/>
                </a:lnTo>
                <a:lnTo>
                  <a:pt x="105747" y="1069910"/>
                </a:lnTo>
                <a:close/>
              </a:path>
            </a:pathLst>
          </a:custGeom>
          <a:solidFill>
            <a:srgbClr val="250D0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任意多边形 21"/>
          <p:cNvSpPr>
            <a:spLocks noChangeArrowheads="1"/>
          </p:cNvSpPr>
          <p:nvPr/>
        </p:nvSpPr>
        <p:spPr bwMode="auto">
          <a:xfrm>
            <a:off x="1498600" y="-79375"/>
            <a:ext cx="835025" cy="1343025"/>
          </a:xfrm>
          <a:custGeom>
            <a:avLst/>
            <a:gdLst>
              <a:gd name="T0" fmla="*/ 398106 w 833535"/>
              <a:gd name="T1" fmla="*/ 1343608 h 1343608"/>
              <a:gd name="T2" fmla="*/ 833535 w 833535"/>
              <a:gd name="T3" fmla="*/ 982824 h 1343608"/>
              <a:gd name="T4" fmla="*/ 279918 w 833535"/>
              <a:gd name="T5" fmla="*/ 0 h 1343608"/>
              <a:gd name="T6" fmla="*/ 0 w 833535"/>
              <a:gd name="T7" fmla="*/ 18661 h 1343608"/>
              <a:gd name="T8" fmla="*/ 398106 w 833535"/>
              <a:gd name="T9" fmla="*/ 1343608 h 1343608"/>
              <a:gd name="T10" fmla="*/ 0 60000 65536"/>
              <a:gd name="T11" fmla="*/ 0 60000 65536"/>
              <a:gd name="T12" fmla="*/ 0 60000 65536"/>
              <a:gd name="T13" fmla="*/ 0 60000 65536"/>
              <a:gd name="T14" fmla="*/ 0 60000 65536"/>
              <a:gd name="T15" fmla="*/ 0 w 833535"/>
              <a:gd name="T16" fmla="*/ 0 h 1343608"/>
              <a:gd name="T17" fmla="*/ 833535 w 833535"/>
              <a:gd name="T18" fmla="*/ 1343608 h 1343608"/>
            </a:gdLst>
            <a:ahLst/>
            <a:cxnLst>
              <a:cxn ang="T10">
                <a:pos x="T0" y="T1"/>
              </a:cxn>
              <a:cxn ang="T11">
                <a:pos x="T2" y="T3"/>
              </a:cxn>
              <a:cxn ang="T12">
                <a:pos x="T4" y="T5"/>
              </a:cxn>
              <a:cxn ang="T13">
                <a:pos x="T6" y="T7"/>
              </a:cxn>
              <a:cxn ang="T14">
                <a:pos x="T8" y="T9"/>
              </a:cxn>
            </a:cxnLst>
            <a:rect l="T15" t="T16" r="T17" b="T18"/>
            <a:pathLst>
              <a:path w="833535" h="1343608">
                <a:moveTo>
                  <a:pt x="398106" y="1343608"/>
                </a:moveTo>
                <a:lnTo>
                  <a:pt x="833535" y="982824"/>
                </a:lnTo>
                <a:lnTo>
                  <a:pt x="279918" y="0"/>
                </a:lnTo>
                <a:lnTo>
                  <a:pt x="0" y="18661"/>
                </a:lnTo>
                <a:lnTo>
                  <a:pt x="398106" y="1343608"/>
                </a:lnTo>
                <a:close/>
              </a:path>
            </a:pathLst>
          </a:custGeom>
          <a:solidFill>
            <a:srgbClr val="BE1F3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8" name="任意多边形 22"/>
          <p:cNvSpPr>
            <a:spLocks noChangeArrowheads="1"/>
          </p:cNvSpPr>
          <p:nvPr/>
        </p:nvSpPr>
        <p:spPr bwMode="auto">
          <a:xfrm>
            <a:off x="-279400" y="136525"/>
            <a:ext cx="1654175" cy="1673225"/>
          </a:xfrm>
          <a:custGeom>
            <a:avLst/>
            <a:gdLst>
              <a:gd name="T0" fmla="*/ 1654628 w 1654628"/>
              <a:gd name="T1" fmla="*/ 858416 h 1673290"/>
              <a:gd name="T2" fmla="*/ 1418253 w 1654628"/>
              <a:gd name="T3" fmla="*/ 1673290 h 1673290"/>
              <a:gd name="T4" fmla="*/ 0 w 1654628"/>
              <a:gd name="T5" fmla="*/ 99527 h 1673290"/>
              <a:gd name="T6" fmla="*/ 136849 w 1654628"/>
              <a:gd name="T7" fmla="*/ 0 h 1673290"/>
              <a:gd name="T8" fmla="*/ 1654628 w 1654628"/>
              <a:gd name="T9" fmla="*/ 858416 h 1673290"/>
              <a:gd name="T10" fmla="*/ 0 60000 65536"/>
              <a:gd name="T11" fmla="*/ 0 60000 65536"/>
              <a:gd name="T12" fmla="*/ 0 60000 65536"/>
              <a:gd name="T13" fmla="*/ 0 60000 65536"/>
              <a:gd name="T14" fmla="*/ 0 60000 65536"/>
              <a:gd name="T15" fmla="*/ 0 w 1654628"/>
              <a:gd name="T16" fmla="*/ 0 h 1673290"/>
              <a:gd name="T17" fmla="*/ 1654628 w 1654628"/>
              <a:gd name="T18" fmla="*/ 1673290 h 1673290"/>
            </a:gdLst>
            <a:ahLst/>
            <a:cxnLst>
              <a:cxn ang="T10">
                <a:pos x="T0" y="T1"/>
              </a:cxn>
              <a:cxn ang="T11">
                <a:pos x="T2" y="T3"/>
              </a:cxn>
              <a:cxn ang="T12">
                <a:pos x="T4" y="T5"/>
              </a:cxn>
              <a:cxn ang="T13">
                <a:pos x="T6" y="T7"/>
              </a:cxn>
              <a:cxn ang="T14">
                <a:pos x="T8" y="T9"/>
              </a:cxn>
            </a:cxnLst>
            <a:rect l="T15" t="T16" r="T17" b="T18"/>
            <a:pathLst>
              <a:path w="1654628" h="1673290">
                <a:moveTo>
                  <a:pt x="1654628" y="858416"/>
                </a:moveTo>
                <a:lnTo>
                  <a:pt x="1418253" y="1673290"/>
                </a:lnTo>
                <a:lnTo>
                  <a:pt x="0" y="99527"/>
                </a:lnTo>
                <a:lnTo>
                  <a:pt x="136849" y="0"/>
                </a:lnTo>
                <a:lnTo>
                  <a:pt x="1654628" y="858416"/>
                </a:lnTo>
                <a:close/>
              </a:path>
            </a:pathLst>
          </a:custGeom>
          <a:solidFill>
            <a:srgbClr val="17B7D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任意多边形 23"/>
          <p:cNvSpPr>
            <a:spLocks noChangeArrowheads="1"/>
          </p:cNvSpPr>
          <p:nvPr/>
        </p:nvSpPr>
        <p:spPr bwMode="auto">
          <a:xfrm>
            <a:off x="-17463" y="-68263"/>
            <a:ext cx="1392238" cy="1063626"/>
          </a:xfrm>
          <a:custGeom>
            <a:avLst/>
            <a:gdLst>
              <a:gd name="T0" fmla="*/ 1393372 w 1393372"/>
              <a:gd name="T1" fmla="*/ 1063690 h 1063690"/>
              <a:gd name="T2" fmla="*/ 1293845 w 1393372"/>
              <a:gd name="T3" fmla="*/ 6221 h 1063690"/>
              <a:gd name="T4" fmla="*/ 223935 w 1393372"/>
              <a:gd name="T5" fmla="*/ 0 h 1063690"/>
              <a:gd name="T6" fmla="*/ 0 w 1393372"/>
              <a:gd name="T7" fmla="*/ 292359 h 1063690"/>
              <a:gd name="T8" fmla="*/ 1393372 w 1393372"/>
              <a:gd name="T9" fmla="*/ 1063690 h 1063690"/>
              <a:gd name="T10" fmla="*/ 0 60000 65536"/>
              <a:gd name="T11" fmla="*/ 0 60000 65536"/>
              <a:gd name="T12" fmla="*/ 0 60000 65536"/>
              <a:gd name="T13" fmla="*/ 0 60000 65536"/>
              <a:gd name="T14" fmla="*/ 0 60000 65536"/>
              <a:gd name="T15" fmla="*/ 0 w 1393372"/>
              <a:gd name="T16" fmla="*/ 0 h 1063690"/>
              <a:gd name="T17" fmla="*/ 1393372 w 1393372"/>
              <a:gd name="T18" fmla="*/ 1063690 h 1063690"/>
            </a:gdLst>
            <a:ahLst/>
            <a:cxnLst>
              <a:cxn ang="T10">
                <a:pos x="T0" y="T1"/>
              </a:cxn>
              <a:cxn ang="T11">
                <a:pos x="T2" y="T3"/>
              </a:cxn>
              <a:cxn ang="T12">
                <a:pos x="T4" y="T5"/>
              </a:cxn>
              <a:cxn ang="T13">
                <a:pos x="T6" y="T7"/>
              </a:cxn>
              <a:cxn ang="T14">
                <a:pos x="T8" y="T9"/>
              </a:cxn>
            </a:cxnLst>
            <a:rect l="T15" t="T16" r="T17" b="T18"/>
            <a:pathLst>
              <a:path w="1393372" h="1063690">
                <a:moveTo>
                  <a:pt x="1393372" y="1063690"/>
                </a:moveTo>
                <a:lnTo>
                  <a:pt x="1293845" y="6221"/>
                </a:lnTo>
                <a:lnTo>
                  <a:pt x="223935" y="0"/>
                </a:lnTo>
                <a:lnTo>
                  <a:pt x="0" y="292359"/>
                </a:lnTo>
                <a:lnTo>
                  <a:pt x="1393372" y="1063690"/>
                </a:lnTo>
                <a:close/>
              </a:path>
            </a:pathLst>
          </a:custGeom>
          <a:solidFill>
            <a:srgbClr val="4CC4C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任意多边形 26"/>
          <p:cNvSpPr>
            <a:spLocks noChangeArrowheads="1"/>
          </p:cNvSpPr>
          <p:nvPr/>
        </p:nvSpPr>
        <p:spPr bwMode="auto">
          <a:xfrm>
            <a:off x="2892425" y="3619500"/>
            <a:ext cx="398463" cy="1711325"/>
          </a:xfrm>
          <a:custGeom>
            <a:avLst/>
            <a:gdLst>
              <a:gd name="T0" fmla="*/ 0 w 398106"/>
              <a:gd name="T1" fmla="*/ 0 h 1710612"/>
              <a:gd name="T2" fmla="*/ 398106 w 398106"/>
              <a:gd name="T3" fmla="*/ 982824 h 1710612"/>
              <a:gd name="T4" fmla="*/ 286139 w 398106"/>
              <a:gd name="T5" fmla="*/ 1710612 h 1710612"/>
              <a:gd name="T6" fmla="*/ 0 w 398106"/>
              <a:gd name="T7" fmla="*/ 0 h 1710612"/>
              <a:gd name="T8" fmla="*/ 0 60000 65536"/>
              <a:gd name="T9" fmla="*/ 0 60000 65536"/>
              <a:gd name="T10" fmla="*/ 0 60000 65536"/>
              <a:gd name="T11" fmla="*/ 0 60000 65536"/>
              <a:gd name="T12" fmla="*/ 0 w 398106"/>
              <a:gd name="T13" fmla="*/ 0 h 1710612"/>
              <a:gd name="T14" fmla="*/ 398106 w 398106"/>
              <a:gd name="T15" fmla="*/ 1710612 h 1710612"/>
            </a:gdLst>
            <a:ahLst/>
            <a:cxnLst>
              <a:cxn ang="T8">
                <a:pos x="T0" y="T1"/>
              </a:cxn>
              <a:cxn ang="T9">
                <a:pos x="T2" y="T3"/>
              </a:cxn>
              <a:cxn ang="T10">
                <a:pos x="T4" y="T5"/>
              </a:cxn>
              <a:cxn ang="T11">
                <a:pos x="T6" y="T7"/>
              </a:cxn>
            </a:cxnLst>
            <a:rect l="T12" t="T13" r="T14" b="T15"/>
            <a:pathLst>
              <a:path w="398106" h="1710612">
                <a:moveTo>
                  <a:pt x="0" y="0"/>
                </a:moveTo>
                <a:lnTo>
                  <a:pt x="398106" y="982824"/>
                </a:lnTo>
                <a:lnTo>
                  <a:pt x="286139" y="1710612"/>
                </a:lnTo>
                <a:lnTo>
                  <a:pt x="0" y="0"/>
                </a:lnTo>
                <a:close/>
              </a:path>
            </a:pathLst>
          </a:custGeom>
          <a:solidFill>
            <a:srgbClr val="FBA11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1" name="任意多边形 27"/>
          <p:cNvSpPr>
            <a:spLocks noChangeArrowheads="1"/>
          </p:cNvSpPr>
          <p:nvPr/>
        </p:nvSpPr>
        <p:spPr bwMode="auto">
          <a:xfrm>
            <a:off x="3184525" y="4597400"/>
            <a:ext cx="1617663" cy="565150"/>
          </a:xfrm>
          <a:custGeom>
            <a:avLst/>
            <a:gdLst>
              <a:gd name="T0" fmla="*/ 99526 w 1617306"/>
              <a:gd name="T1" fmla="*/ 0 h 566057"/>
              <a:gd name="T2" fmla="*/ 1617306 w 1617306"/>
              <a:gd name="T3" fmla="*/ 566057 h 566057"/>
              <a:gd name="T4" fmla="*/ 0 w 1617306"/>
              <a:gd name="T5" fmla="*/ 566057 h 566057"/>
              <a:gd name="T6" fmla="*/ 99526 w 1617306"/>
              <a:gd name="T7" fmla="*/ 0 h 566057"/>
              <a:gd name="T8" fmla="*/ 0 60000 65536"/>
              <a:gd name="T9" fmla="*/ 0 60000 65536"/>
              <a:gd name="T10" fmla="*/ 0 60000 65536"/>
              <a:gd name="T11" fmla="*/ 0 60000 65536"/>
              <a:gd name="T12" fmla="*/ 0 w 1617306"/>
              <a:gd name="T13" fmla="*/ 0 h 566057"/>
              <a:gd name="T14" fmla="*/ 1617306 w 1617306"/>
              <a:gd name="T15" fmla="*/ 566057 h 566057"/>
            </a:gdLst>
            <a:ahLst/>
            <a:cxnLst>
              <a:cxn ang="T8">
                <a:pos x="T0" y="T1"/>
              </a:cxn>
              <a:cxn ang="T9">
                <a:pos x="T2" y="T3"/>
              </a:cxn>
              <a:cxn ang="T10">
                <a:pos x="T4" y="T5"/>
              </a:cxn>
              <a:cxn ang="T11">
                <a:pos x="T6" y="T7"/>
              </a:cxn>
            </a:cxnLst>
            <a:rect l="T12" t="T13" r="T14" b="T15"/>
            <a:pathLst>
              <a:path w="1617306" h="566057">
                <a:moveTo>
                  <a:pt x="99526" y="0"/>
                </a:moveTo>
                <a:lnTo>
                  <a:pt x="1617306" y="566057"/>
                </a:lnTo>
                <a:lnTo>
                  <a:pt x="0" y="566057"/>
                </a:lnTo>
                <a:lnTo>
                  <a:pt x="99526" y="0"/>
                </a:lnTo>
                <a:close/>
              </a:path>
            </a:pathLst>
          </a:custGeom>
          <a:solidFill>
            <a:srgbClr val="ED3B3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任意多边形 28"/>
          <p:cNvSpPr>
            <a:spLocks noChangeArrowheads="1"/>
          </p:cNvSpPr>
          <p:nvPr/>
        </p:nvSpPr>
        <p:spPr bwMode="auto">
          <a:xfrm>
            <a:off x="3278188" y="4011613"/>
            <a:ext cx="1790700" cy="1157287"/>
          </a:xfrm>
          <a:custGeom>
            <a:avLst/>
            <a:gdLst>
              <a:gd name="T0" fmla="*/ 87086 w 1791477"/>
              <a:gd name="T1" fmla="*/ 0 h 1156996"/>
              <a:gd name="T2" fmla="*/ 1791477 w 1791477"/>
              <a:gd name="T3" fmla="*/ 1150776 h 1156996"/>
              <a:gd name="T4" fmla="*/ 1536441 w 1791477"/>
              <a:gd name="T5" fmla="*/ 1156996 h 1156996"/>
              <a:gd name="T6" fmla="*/ 0 w 1791477"/>
              <a:gd name="T7" fmla="*/ 603380 h 1156996"/>
              <a:gd name="T8" fmla="*/ 87086 w 1791477"/>
              <a:gd name="T9" fmla="*/ 0 h 1156996"/>
              <a:gd name="T10" fmla="*/ 0 60000 65536"/>
              <a:gd name="T11" fmla="*/ 0 60000 65536"/>
              <a:gd name="T12" fmla="*/ 0 60000 65536"/>
              <a:gd name="T13" fmla="*/ 0 60000 65536"/>
              <a:gd name="T14" fmla="*/ 0 60000 65536"/>
              <a:gd name="T15" fmla="*/ 0 w 1791477"/>
              <a:gd name="T16" fmla="*/ 0 h 1156996"/>
              <a:gd name="T17" fmla="*/ 1791477 w 1791477"/>
              <a:gd name="T18" fmla="*/ 1156996 h 1156996"/>
            </a:gdLst>
            <a:ahLst/>
            <a:cxnLst>
              <a:cxn ang="T10">
                <a:pos x="T0" y="T1"/>
              </a:cxn>
              <a:cxn ang="T11">
                <a:pos x="T2" y="T3"/>
              </a:cxn>
              <a:cxn ang="T12">
                <a:pos x="T4" y="T5"/>
              </a:cxn>
              <a:cxn ang="T13">
                <a:pos x="T6" y="T7"/>
              </a:cxn>
              <a:cxn ang="T14">
                <a:pos x="T8" y="T9"/>
              </a:cxn>
            </a:cxnLst>
            <a:rect l="T15" t="T16" r="T17" b="T18"/>
            <a:pathLst>
              <a:path w="1791477" h="1156996">
                <a:moveTo>
                  <a:pt x="87086" y="0"/>
                </a:moveTo>
                <a:lnTo>
                  <a:pt x="1791477" y="1150776"/>
                </a:lnTo>
                <a:lnTo>
                  <a:pt x="1536441" y="1156996"/>
                </a:lnTo>
                <a:lnTo>
                  <a:pt x="0" y="603380"/>
                </a:lnTo>
                <a:lnTo>
                  <a:pt x="87086" y="0"/>
                </a:lnTo>
                <a:close/>
              </a:path>
            </a:pathLst>
          </a:custGeom>
          <a:solidFill>
            <a:srgbClr val="F05A5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任意多边形 29"/>
          <p:cNvSpPr>
            <a:spLocks noChangeArrowheads="1"/>
          </p:cNvSpPr>
          <p:nvPr/>
        </p:nvSpPr>
        <p:spPr bwMode="auto">
          <a:xfrm>
            <a:off x="2886075" y="3613150"/>
            <a:ext cx="485775" cy="984250"/>
          </a:xfrm>
          <a:custGeom>
            <a:avLst/>
            <a:gdLst>
              <a:gd name="T0" fmla="*/ 0 w 491412"/>
              <a:gd name="T1" fmla="*/ 0 h 976604"/>
              <a:gd name="T2" fmla="*/ 491412 w 491412"/>
              <a:gd name="T3" fmla="*/ 398106 h 976604"/>
              <a:gd name="T4" fmla="*/ 398106 w 491412"/>
              <a:gd name="T5" fmla="*/ 976604 h 976604"/>
              <a:gd name="T6" fmla="*/ 0 w 491412"/>
              <a:gd name="T7" fmla="*/ 0 h 976604"/>
              <a:gd name="T8" fmla="*/ 0 60000 65536"/>
              <a:gd name="T9" fmla="*/ 0 60000 65536"/>
              <a:gd name="T10" fmla="*/ 0 60000 65536"/>
              <a:gd name="T11" fmla="*/ 0 60000 65536"/>
              <a:gd name="T12" fmla="*/ 0 w 491412"/>
              <a:gd name="T13" fmla="*/ 0 h 976604"/>
              <a:gd name="T14" fmla="*/ 491412 w 491412"/>
              <a:gd name="T15" fmla="*/ 976604 h 976604"/>
            </a:gdLst>
            <a:ahLst/>
            <a:cxnLst>
              <a:cxn ang="T8">
                <a:pos x="T0" y="T1"/>
              </a:cxn>
              <a:cxn ang="T9">
                <a:pos x="T2" y="T3"/>
              </a:cxn>
              <a:cxn ang="T10">
                <a:pos x="T4" y="T5"/>
              </a:cxn>
              <a:cxn ang="T11">
                <a:pos x="T6" y="T7"/>
              </a:cxn>
            </a:cxnLst>
            <a:rect l="T12" t="T13" r="T14" b="T15"/>
            <a:pathLst>
              <a:path w="491412" h="976604">
                <a:moveTo>
                  <a:pt x="0" y="0"/>
                </a:moveTo>
                <a:lnTo>
                  <a:pt x="491412" y="398106"/>
                </a:lnTo>
                <a:lnTo>
                  <a:pt x="398106" y="976604"/>
                </a:lnTo>
                <a:lnTo>
                  <a:pt x="0" y="0"/>
                </a:lnTo>
                <a:close/>
              </a:path>
            </a:pathLst>
          </a:custGeom>
          <a:solidFill>
            <a:srgbClr val="FCBA1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任意多边形 32"/>
          <p:cNvSpPr>
            <a:spLocks noChangeArrowheads="1"/>
          </p:cNvSpPr>
          <p:nvPr/>
        </p:nvSpPr>
        <p:spPr bwMode="auto">
          <a:xfrm>
            <a:off x="2581275" y="1773238"/>
            <a:ext cx="1082675" cy="1884362"/>
          </a:xfrm>
          <a:custGeom>
            <a:avLst/>
            <a:gdLst>
              <a:gd name="T0" fmla="*/ 0 w 1076131"/>
              <a:gd name="T1" fmla="*/ 0 h 1841240"/>
              <a:gd name="T2" fmla="*/ 1076131 w 1076131"/>
              <a:gd name="T3" fmla="*/ 6220 h 1841240"/>
              <a:gd name="T4" fmla="*/ 304800 w 1076131"/>
              <a:gd name="T5" fmla="*/ 1841240 h 1841240"/>
              <a:gd name="T6" fmla="*/ 0 w 1076131"/>
              <a:gd name="T7" fmla="*/ 0 h 1841240"/>
              <a:gd name="T8" fmla="*/ 0 60000 65536"/>
              <a:gd name="T9" fmla="*/ 0 60000 65536"/>
              <a:gd name="T10" fmla="*/ 0 60000 65536"/>
              <a:gd name="T11" fmla="*/ 0 60000 65536"/>
              <a:gd name="T12" fmla="*/ 0 w 1076131"/>
              <a:gd name="T13" fmla="*/ 0 h 1841240"/>
              <a:gd name="T14" fmla="*/ 1076131 w 1076131"/>
              <a:gd name="T15" fmla="*/ 1841240 h 1841240"/>
            </a:gdLst>
            <a:ahLst/>
            <a:cxnLst>
              <a:cxn ang="T8">
                <a:pos x="T0" y="T1"/>
              </a:cxn>
              <a:cxn ang="T9">
                <a:pos x="T2" y="T3"/>
              </a:cxn>
              <a:cxn ang="T10">
                <a:pos x="T4" y="T5"/>
              </a:cxn>
              <a:cxn ang="T11">
                <a:pos x="T6" y="T7"/>
              </a:cxn>
            </a:cxnLst>
            <a:rect l="T12" t="T13" r="T14" b="T15"/>
            <a:pathLst>
              <a:path w="1076131" h="1841240">
                <a:moveTo>
                  <a:pt x="0" y="0"/>
                </a:moveTo>
                <a:lnTo>
                  <a:pt x="1076131" y="6220"/>
                </a:lnTo>
                <a:lnTo>
                  <a:pt x="304800" y="1841240"/>
                </a:lnTo>
                <a:lnTo>
                  <a:pt x="0" y="0"/>
                </a:lnTo>
                <a:close/>
              </a:path>
            </a:pathLst>
          </a:custGeom>
          <a:solidFill>
            <a:srgbClr val="EA7A2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5" name="任意多边形 34"/>
          <p:cNvSpPr>
            <a:spLocks noChangeArrowheads="1"/>
          </p:cNvSpPr>
          <p:nvPr/>
        </p:nvSpPr>
        <p:spPr bwMode="auto">
          <a:xfrm>
            <a:off x="3763963" y="2052638"/>
            <a:ext cx="454025" cy="1735137"/>
          </a:xfrm>
          <a:custGeom>
            <a:avLst/>
            <a:gdLst>
              <a:gd name="T0" fmla="*/ 454090 w 454090"/>
              <a:gd name="T1" fmla="*/ 0 h 1735494"/>
              <a:gd name="T2" fmla="*/ 410547 w 454090"/>
              <a:gd name="T3" fmla="*/ 1735494 h 1735494"/>
              <a:gd name="T4" fmla="*/ 0 w 454090"/>
              <a:gd name="T5" fmla="*/ 230155 h 1735494"/>
              <a:gd name="T6" fmla="*/ 454090 w 454090"/>
              <a:gd name="T7" fmla="*/ 0 h 1735494"/>
              <a:gd name="T8" fmla="*/ 0 60000 65536"/>
              <a:gd name="T9" fmla="*/ 0 60000 65536"/>
              <a:gd name="T10" fmla="*/ 0 60000 65536"/>
              <a:gd name="T11" fmla="*/ 0 60000 65536"/>
              <a:gd name="T12" fmla="*/ 0 w 454090"/>
              <a:gd name="T13" fmla="*/ 0 h 1735494"/>
              <a:gd name="T14" fmla="*/ 454090 w 454090"/>
              <a:gd name="T15" fmla="*/ 1735494 h 1735494"/>
            </a:gdLst>
            <a:ahLst/>
            <a:cxnLst>
              <a:cxn ang="T8">
                <a:pos x="T0" y="T1"/>
              </a:cxn>
              <a:cxn ang="T9">
                <a:pos x="T2" y="T3"/>
              </a:cxn>
              <a:cxn ang="T10">
                <a:pos x="T4" y="T5"/>
              </a:cxn>
              <a:cxn ang="T11">
                <a:pos x="T6" y="T7"/>
              </a:cxn>
            </a:cxnLst>
            <a:rect l="T12" t="T13" r="T14" b="T15"/>
            <a:pathLst>
              <a:path w="454090" h="1735494">
                <a:moveTo>
                  <a:pt x="454090" y="0"/>
                </a:moveTo>
                <a:lnTo>
                  <a:pt x="410547" y="1735494"/>
                </a:lnTo>
                <a:lnTo>
                  <a:pt x="0" y="230155"/>
                </a:lnTo>
                <a:lnTo>
                  <a:pt x="454090" y="0"/>
                </a:lnTo>
                <a:close/>
              </a:path>
            </a:pathLst>
          </a:custGeom>
          <a:solidFill>
            <a:srgbClr val="118A9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6" name="任意多边形 37"/>
          <p:cNvSpPr>
            <a:spLocks noChangeArrowheads="1"/>
          </p:cNvSpPr>
          <p:nvPr/>
        </p:nvSpPr>
        <p:spPr bwMode="auto">
          <a:xfrm>
            <a:off x="1884363" y="-55563"/>
            <a:ext cx="1792287" cy="1841501"/>
          </a:xfrm>
          <a:custGeom>
            <a:avLst/>
            <a:gdLst>
              <a:gd name="T0" fmla="*/ 0 w 1791478"/>
              <a:gd name="T1" fmla="*/ 1318726 h 1841241"/>
              <a:gd name="T2" fmla="*/ 696686 w 1791478"/>
              <a:gd name="T3" fmla="*/ 1841241 h 1841241"/>
              <a:gd name="T4" fmla="*/ 1791478 w 1791478"/>
              <a:gd name="T5" fmla="*/ 12441 h 1841241"/>
              <a:gd name="T6" fmla="*/ 1474237 w 1791478"/>
              <a:gd name="T7" fmla="*/ 0 h 1841241"/>
              <a:gd name="T8" fmla="*/ 0 w 1791478"/>
              <a:gd name="T9" fmla="*/ 1318726 h 1841241"/>
              <a:gd name="T10" fmla="*/ 0 60000 65536"/>
              <a:gd name="T11" fmla="*/ 0 60000 65536"/>
              <a:gd name="T12" fmla="*/ 0 60000 65536"/>
              <a:gd name="T13" fmla="*/ 0 60000 65536"/>
              <a:gd name="T14" fmla="*/ 0 60000 65536"/>
              <a:gd name="T15" fmla="*/ 0 w 1791478"/>
              <a:gd name="T16" fmla="*/ 0 h 1841241"/>
              <a:gd name="T17" fmla="*/ 1791478 w 1791478"/>
              <a:gd name="T18" fmla="*/ 1841241 h 1841241"/>
            </a:gdLst>
            <a:ahLst/>
            <a:cxnLst>
              <a:cxn ang="T10">
                <a:pos x="T0" y="T1"/>
              </a:cxn>
              <a:cxn ang="T11">
                <a:pos x="T2" y="T3"/>
              </a:cxn>
              <a:cxn ang="T12">
                <a:pos x="T4" y="T5"/>
              </a:cxn>
              <a:cxn ang="T13">
                <a:pos x="T6" y="T7"/>
              </a:cxn>
              <a:cxn ang="T14">
                <a:pos x="T8" y="T9"/>
              </a:cxn>
            </a:cxnLst>
            <a:rect l="T15" t="T16" r="T17" b="T18"/>
            <a:pathLst>
              <a:path w="1791478" h="1841241">
                <a:moveTo>
                  <a:pt x="0" y="1318726"/>
                </a:moveTo>
                <a:lnTo>
                  <a:pt x="696686" y="1841241"/>
                </a:lnTo>
                <a:lnTo>
                  <a:pt x="1791478" y="12441"/>
                </a:lnTo>
                <a:lnTo>
                  <a:pt x="1474237" y="0"/>
                </a:lnTo>
                <a:lnTo>
                  <a:pt x="0" y="1318726"/>
                </a:lnTo>
                <a:close/>
              </a:path>
            </a:pathLst>
          </a:custGeom>
          <a:solidFill>
            <a:srgbClr val="EE403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7" name="任意多边形 40"/>
          <p:cNvSpPr>
            <a:spLocks noChangeArrowheads="1"/>
          </p:cNvSpPr>
          <p:nvPr/>
        </p:nvSpPr>
        <p:spPr bwMode="auto">
          <a:xfrm>
            <a:off x="1803400" y="-36513"/>
            <a:ext cx="511175" cy="927101"/>
          </a:xfrm>
          <a:custGeom>
            <a:avLst/>
            <a:gdLst>
              <a:gd name="T0" fmla="*/ 503853 w 510073"/>
              <a:gd name="T1" fmla="*/ 926841 h 926841"/>
              <a:gd name="T2" fmla="*/ 510073 w 510073"/>
              <a:gd name="T3" fmla="*/ 12441 h 926841"/>
              <a:gd name="T4" fmla="*/ 0 w 510073"/>
              <a:gd name="T5" fmla="*/ 0 h 926841"/>
              <a:gd name="T6" fmla="*/ 503853 w 510073"/>
              <a:gd name="T7" fmla="*/ 926841 h 926841"/>
              <a:gd name="T8" fmla="*/ 0 60000 65536"/>
              <a:gd name="T9" fmla="*/ 0 60000 65536"/>
              <a:gd name="T10" fmla="*/ 0 60000 65536"/>
              <a:gd name="T11" fmla="*/ 0 60000 65536"/>
              <a:gd name="T12" fmla="*/ 0 w 510073"/>
              <a:gd name="T13" fmla="*/ 0 h 926841"/>
              <a:gd name="T14" fmla="*/ 510073 w 510073"/>
              <a:gd name="T15" fmla="*/ 926841 h 926841"/>
            </a:gdLst>
            <a:ahLst/>
            <a:cxnLst>
              <a:cxn ang="T8">
                <a:pos x="T0" y="T1"/>
              </a:cxn>
              <a:cxn ang="T9">
                <a:pos x="T2" y="T3"/>
              </a:cxn>
              <a:cxn ang="T10">
                <a:pos x="T4" y="T5"/>
              </a:cxn>
              <a:cxn ang="T11">
                <a:pos x="T6" y="T7"/>
              </a:cxn>
            </a:cxnLst>
            <a:rect l="T12" t="T13" r="T14" b="T15"/>
            <a:pathLst>
              <a:path w="510073" h="926841">
                <a:moveTo>
                  <a:pt x="503853" y="926841"/>
                </a:moveTo>
                <a:cubicBezTo>
                  <a:pt x="505926" y="622041"/>
                  <a:pt x="508000" y="317241"/>
                  <a:pt x="510073" y="12441"/>
                </a:cubicBezTo>
                <a:lnTo>
                  <a:pt x="0" y="0"/>
                </a:lnTo>
                <a:lnTo>
                  <a:pt x="503853" y="926841"/>
                </a:lnTo>
                <a:close/>
              </a:path>
            </a:pathLst>
          </a:custGeom>
          <a:solidFill>
            <a:srgbClr val="D91D3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任意多边形 41"/>
          <p:cNvSpPr>
            <a:spLocks noChangeArrowheads="1"/>
          </p:cNvSpPr>
          <p:nvPr/>
        </p:nvSpPr>
        <p:spPr bwMode="auto">
          <a:xfrm>
            <a:off x="2406650" y="-17463"/>
            <a:ext cx="585788" cy="334963"/>
          </a:xfrm>
          <a:custGeom>
            <a:avLst/>
            <a:gdLst>
              <a:gd name="T0" fmla="*/ 0 w 528734"/>
              <a:gd name="T1" fmla="*/ 0 h 311020"/>
              <a:gd name="T2" fmla="*/ 317240 w 528734"/>
              <a:gd name="T3" fmla="*/ 6220 h 311020"/>
              <a:gd name="T4" fmla="*/ 528734 w 528734"/>
              <a:gd name="T5" fmla="*/ 311020 h 311020"/>
              <a:gd name="T6" fmla="*/ 0 w 528734"/>
              <a:gd name="T7" fmla="*/ 0 h 311020"/>
              <a:gd name="T8" fmla="*/ 0 60000 65536"/>
              <a:gd name="T9" fmla="*/ 0 60000 65536"/>
              <a:gd name="T10" fmla="*/ 0 60000 65536"/>
              <a:gd name="T11" fmla="*/ 0 60000 65536"/>
              <a:gd name="T12" fmla="*/ 0 w 528734"/>
              <a:gd name="T13" fmla="*/ 0 h 311020"/>
              <a:gd name="T14" fmla="*/ 528734 w 528734"/>
              <a:gd name="T15" fmla="*/ 311020 h 311020"/>
            </a:gdLst>
            <a:ahLst/>
            <a:cxnLst>
              <a:cxn ang="T8">
                <a:pos x="T0" y="T1"/>
              </a:cxn>
              <a:cxn ang="T9">
                <a:pos x="T2" y="T3"/>
              </a:cxn>
              <a:cxn ang="T10">
                <a:pos x="T4" y="T5"/>
              </a:cxn>
              <a:cxn ang="T11">
                <a:pos x="T6" y="T7"/>
              </a:cxn>
            </a:cxnLst>
            <a:rect l="T12" t="T13" r="T14" b="T15"/>
            <a:pathLst>
              <a:path w="528734" h="311020">
                <a:moveTo>
                  <a:pt x="0" y="0"/>
                </a:moveTo>
                <a:lnTo>
                  <a:pt x="317240" y="6220"/>
                </a:lnTo>
                <a:lnTo>
                  <a:pt x="528734" y="311020"/>
                </a:lnTo>
                <a:lnTo>
                  <a:pt x="0" y="0"/>
                </a:lnTo>
                <a:close/>
              </a:path>
            </a:pathLst>
          </a:custGeom>
          <a:solidFill>
            <a:srgbClr val="1594A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9" name="任意多边形 42"/>
          <p:cNvSpPr>
            <a:spLocks noChangeArrowheads="1"/>
          </p:cNvSpPr>
          <p:nvPr/>
        </p:nvSpPr>
        <p:spPr bwMode="auto">
          <a:xfrm>
            <a:off x="2755900" y="-12700"/>
            <a:ext cx="565150" cy="317500"/>
          </a:xfrm>
          <a:custGeom>
            <a:avLst/>
            <a:gdLst>
              <a:gd name="T0" fmla="*/ 0 w 566057"/>
              <a:gd name="T1" fmla="*/ 0 h 286139"/>
              <a:gd name="T2" fmla="*/ 566057 w 566057"/>
              <a:gd name="T3" fmla="*/ 6220 h 286139"/>
              <a:gd name="T4" fmla="*/ 223934 w 566057"/>
              <a:gd name="T5" fmla="*/ 286139 h 286139"/>
              <a:gd name="T6" fmla="*/ 0 w 566057"/>
              <a:gd name="T7" fmla="*/ 0 h 286139"/>
              <a:gd name="T8" fmla="*/ 0 60000 65536"/>
              <a:gd name="T9" fmla="*/ 0 60000 65536"/>
              <a:gd name="T10" fmla="*/ 0 60000 65536"/>
              <a:gd name="T11" fmla="*/ 0 60000 65536"/>
              <a:gd name="T12" fmla="*/ 0 w 566057"/>
              <a:gd name="T13" fmla="*/ 0 h 286139"/>
              <a:gd name="T14" fmla="*/ 566057 w 566057"/>
              <a:gd name="T15" fmla="*/ 286139 h 286139"/>
            </a:gdLst>
            <a:ahLst/>
            <a:cxnLst>
              <a:cxn ang="T8">
                <a:pos x="T0" y="T1"/>
              </a:cxn>
              <a:cxn ang="T9">
                <a:pos x="T2" y="T3"/>
              </a:cxn>
              <a:cxn ang="T10">
                <a:pos x="T4" y="T5"/>
              </a:cxn>
              <a:cxn ang="T11">
                <a:pos x="T6" y="T7"/>
              </a:cxn>
            </a:cxnLst>
            <a:rect l="T12" t="T13" r="T14" b="T15"/>
            <a:pathLst>
              <a:path w="566057" h="286139">
                <a:moveTo>
                  <a:pt x="0" y="0"/>
                </a:moveTo>
                <a:lnTo>
                  <a:pt x="566057" y="6220"/>
                </a:lnTo>
                <a:lnTo>
                  <a:pt x="223934" y="286139"/>
                </a:lnTo>
                <a:lnTo>
                  <a:pt x="0" y="0"/>
                </a:lnTo>
                <a:close/>
              </a:path>
            </a:pathLst>
          </a:custGeom>
          <a:solidFill>
            <a:srgbClr val="21788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0" name="任意多边形 43"/>
          <p:cNvSpPr>
            <a:spLocks noChangeArrowheads="1"/>
          </p:cNvSpPr>
          <p:nvPr/>
        </p:nvSpPr>
        <p:spPr bwMode="auto">
          <a:xfrm>
            <a:off x="3794125" y="-12700"/>
            <a:ext cx="274638" cy="939800"/>
          </a:xfrm>
          <a:custGeom>
            <a:avLst/>
            <a:gdLst>
              <a:gd name="T0" fmla="*/ 273698 w 273698"/>
              <a:gd name="T1" fmla="*/ 18661 h 939281"/>
              <a:gd name="T2" fmla="*/ 0 w 273698"/>
              <a:gd name="T3" fmla="*/ 939281 h 939281"/>
              <a:gd name="T4" fmla="*/ 161730 w 273698"/>
              <a:gd name="T5" fmla="*/ 0 h 939281"/>
              <a:gd name="T6" fmla="*/ 273698 w 273698"/>
              <a:gd name="T7" fmla="*/ 18661 h 939281"/>
              <a:gd name="T8" fmla="*/ 0 60000 65536"/>
              <a:gd name="T9" fmla="*/ 0 60000 65536"/>
              <a:gd name="T10" fmla="*/ 0 60000 65536"/>
              <a:gd name="T11" fmla="*/ 0 60000 65536"/>
              <a:gd name="T12" fmla="*/ 0 w 273698"/>
              <a:gd name="T13" fmla="*/ 0 h 939281"/>
              <a:gd name="T14" fmla="*/ 273698 w 273698"/>
              <a:gd name="T15" fmla="*/ 939281 h 939281"/>
            </a:gdLst>
            <a:ahLst/>
            <a:cxnLst>
              <a:cxn ang="T8">
                <a:pos x="T0" y="T1"/>
              </a:cxn>
              <a:cxn ang="T9">
                <a:pos x="T2" y="T3"/>
              </a:cxn>
              <a:cxn ang="T10">
                <a:pos x="T4" y="T5"/>
              </a:cxn>
              <a:cxn ang="T11">
                <a:pos x="T6" y="T7"/>
              </a:cxn>
            </a:cxnLst>
            <a:rect l="T12" t="T13" r="T14" b="T15"/>
            <a:pathLst>
              <a:path w="273698" h="939281">
                <a:moveTo>
                  <a:pt x="273698" y="18661"/>
                </a:moveTo>
                <a:lnTo>
                  <a:pt x="0" y="939281"/>
                </a:lnTo>
                <a:lnTo>
                  <a:pt x="161730" y="0"/>
                </a:lnTo>
                <a:lnTo>
                  <a:pt x="273698" y="18661"/>
                </a:lnTo>
                <a:close/>
              </a:path>
            </a:pathLst>
          </a:custGeom>
          <a:solidFill>
            <a:srgbClr val="1796C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1" name="任意多边形 44"/>
          <p:cNvSpPr>
            <a:spLocks noChangeArrowheads="1"/>
          </p:cNvSpPr>
          <p:nvPr/>
        </p:nvSpPr>
        <p:spPr bwMode="auto">
          <a:xfrm>
            <a:off x="3787775" y="-23813"/>
            <a:ext cx="603250" cy="1547813"/>
          </a:xfrm>
          <a:custGeom>
            <a:avLst/>
            <a:gdLst>
              <a:gd name="T0" fmla="*/ 267477 w 603379"/>
              <a:gd name="T1" fmla="*/ 6220 h 1548881"/>
              <a:gd name="T2" fmla="*/ 472751 w 603379"/>
              <a:gd name="T3" fmla="*/ 0 h 1548881"/>
              <a:gd name="T4" fmla="*/ 603379 w 603379"/>
              <a:gd name="T5" fmla="*/ 1548881 h 1548881"/>
              <a:gd name="T6" fmla="*/ 0 w 603379"/>
              <a:gd name="T7" fmla="*/ 939281 h 1548881"/>
              <a:gd name="T8" fmla="*/ 267477 w 603379"/>
              <a:gd name="T9" fmla="*/ 6220 h 1548881"/>
              <a:gd name="T10" fmla="*/ 0 60000 65536"/>
              <a:gd name="T11" fmla="*/ 0 60000 65536"/>
              <a:gd name="T12" fmla="*/ 0 60000 65536"/>
              <a:gd name="T13" fmla="*/ 0 60000 65536"/>
              <a:gd name="T14" fmla="*/ 0 60000 65536"/>
              <a:gd name="T15" fmla="*/ 0 w 603379"/>
              <a:gd name="T16" fmla="*/ 0 h 1548881"/>
              <a:gd name="T17" fmla="*/ 603379 w 603379"/>
              <a:gd name="T18" fmla="*/ 1548881 h 1548881"/>
            </a:gdLst>
            <a:ahLst/>
            <a:cxnLst>
              <a:cxn ang="T10">
                <a:pos x="T0" y="T1"/>
              </a:cxn>
              <a:cxn ang="T11">
                <a:pos x="T2" y="T3"/>
              </a:cxn>
              <a:cxn ang="T12">
                <a:pos x="T4" y="T5"/>
              </a:cxn>
              <a:cxn ang="T13">
                <a:pos x="T6" y="T7"/>
              </a:cxn>
              <a:cxn ang="T14">
                <a:pos x="T8" y="T9"/>
              </a:cxn>
            </a:cxnLst>
            <a:rect l="T15" t="T16" r="T17" b="T18"/>
            <a:pathLst>
              <a:path w="603379" h="1548881">
                <a:moveTo>
                  <a:pt x="267477" y="6220"/>
                </a:moveTo>
                <a:lnTo>
                  <a:pt x="472751" y="0"/>
                </a:lnTo>
                <a:lnTo>
                  <a:pt x="603379" y="1548881"/>
                </a:lnTo>
                <a:lnTo>
                  <a:pt x="0" y="939281"/>
                </a:lnTo>
                <a:lnTo>
                  <a:pt x="267477" y="6220"/>
                </a:lnTo>
                <a:close/>
              </a:path>
            </a:pathLst>
          </a:custGeom>
          <a:solidFill>
            <a:srgbClr val="107AA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任意多边形 45"/>
          <p:cNvSpPr>
            <a:spLocks noChangeArrowheads="1"/>
          </p:cNvSpPr>
          <p:nvPr/>
        </p:nvSpPr>
        <p:spPr bwMode="auto">
          <a:xfrm>
            <a:off x="3651250" y="908050"/>
            <a:ext cx="746125" cy="889000"/>
          </a:xfrm>
          <a:custGeom>
            <a:avLst/>
            <a:gdLst>
              <a:gd name="T0" fmla="*/ 143070 w 746449"/>
              <a:gd name="T1" fmla="*/ 0 h 889518"/>
              <a:gd name="T2" fmla="*/ 746449 w 746449"/>
              <a:gd name="T3" fmla="*/ 603379 h 889518"/>
              <a:gd name="T4" fmla="*/ 0 w 746449"/>
              <a:gd name="T5" fmla="*/ 889518 h 889518"/>
              <a:gd name="T6" fmla="*/ 143070 w 746449"/>
              <a:gd name="T7" fmla="*/ 0 h 889518"/>
              <a:gd name="T8" fmla="*/ 0 60000 65536"/>
              <a:gd name="T9" fmla="*/ 0 60000 65536"/>
              <a:gd name="T10" fmla="*/ 0 60000 65536"/>
              <a:gd name="T11" fmla="*/ 0 60000 65536"/>
              <a:gd name="T12" fmla="*/ 0 w 746449"/>
              <a:gd name="T13" fmla="*/ 0 h 889518"/>
              <a:gd name="T14" fmla="*/ 746449 w 746449"/>
              <a:gd name="T15" fmla="*/ 889518 h 889518"/>
            </a:gdLst>
            <a:ahLst/>
            <a:cxnLst>
              <a:cxn ang="T8">
                <a:pos x="T0" y="T1"/>
              </a:cxn>
              <a:cxn ang="T9">
                <a:pos x="T2" y="T3"/>
              </a:cxn>
              <a:cxn ang="T10">
                <a:pos x="T4" y="T5"/>
              </a:cxn>
              <a:cxn ang="T11">
                <a:pos x="T6" y="T7"/>
              </a:cxn>
            </a:cxnLst>
            <a:rect l="T12" t="T13" r="T14" b="T15"/>
            <a:pathLst>
              <a:path w="746449" h="889518">
                <a:moveTo>
                  <a:pt x="143070" y="0"/>
                </a:moveTo>
                <a:lnTo>
                  <a:pt x="746449" y="603379"/>
                </a:lnTo>
                <a:lnTo>
                  <a:pt x="0" y="889518"/>
                </a:lnTo>
                <a:lnTo>
                  <a:pt x="143070" y="0"/>
                </a:lnTo>
                <a:close/>
              </a:path>
            </a:pathLst>
          </a:custGeom>
          <a:solidFill>
            <a:srgbClr val="12B0C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3" name="任意多边形 46"/>
          <p:cNvSpPr>
            <a:spLocks noChangeArrowheads="1"/>
          </p:cNvSpPr>
          <p:nvPr/>
        </p:nvSpPr>
        <p:spPr bwMode="auto">
          <a:xfrm>
            <a:off x="3644900" y="1485900"/>
            <a:ext cx="1150938" cy="304800"/>
          </a:xfrm>
          <a:custGeom>
            <a:avLst/>
            <a:gdLst>
              <a:gd name="T0" fmla="*/ 696686 w 1094792"/>
              <a:gd name="T1" fmla="*/ 0 h 286139"/>
              <a:gd name="T2" fmla="*/ 1094792 w 1094792"/>
              <a:gd name="T3" fmla="*/ 273698 h 286139"/>
              <a:gd name="T4" fmla="*/ 0 w 1094792"/>
              <a:gd name="T5" fmla="*/ 286139 h 286139"/>
              <a:gd name="T6" fmla="*/ 696686 w 1094792"/>
              <a:gd name="T7" fmla="*/ 0 h 286139"/>
              <a:gd name="T8" fmla="*/ 0 60000 65536"/>
              <a:gd name="T9" fmla="*/ 0 60000 65536"/>
              <a:gd name="T10" fmla="*/ 0 60000 65536"/>
              <a:gd name="T11" fmla="*/ 0 60000 65536"/>
              <a:gd name="T12" fmla="*/ 0 w 1094792"/>
              <a:gd name="T13" fmla="*/ 0 h 286139"/>
              <a:gd name="T14" fmla="*/ 1094792 w 1094792"/>
              <a:gd name="T15" fmla="*/ 286139 h 286139"/>
            </a:gdLst>
            <a:ahLst/>
            <a:cxnLst>
              <a:cxn ang="T8">
                <a:pos x="T0" y="T1"/>
              </a:cxn>
              <a:cxn ang="T9">
                <a:pos x="T2" y="T3"/>
              </a:cxn>
              <a:cxn ang="T10">
                <a:pos x="T4" y="T5"/>
              </a:cxn>
              <a:cxn ang="T11">
                <a:pos x="T6" y="T7"/>
              </a:cxn>
            </a:cxnLst>
            <a:rect l="T12" t="T13" r="T14" b="T15"/>
            <a:pathLst>
              <a:path w="1094792" h="286139">
                <a:moveTo>
                  <a:pt x="696686" y="0"/>
                </a:moveTo>
                <a:lnTo>
                  <a:pt x="1094792" y="273698"/>
                </a:lnTo>
                <a:lnTo>
                  <a:pt x="0" y="286139"/>
                </a:lnTo>
                <a:lnTo>
                  <a:pt x="696686" y="0"/>
                </a:lnTo>
                <a:close/>
              </a:path>
            </a:pathLst>
          </a:custGeom>
          <a:solidFill>
            <a:srgbClr val="06738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4" name="任意多边形 48"/>
          <p:cNvSpPr>
            <a:spLocks noChangeArrowheads="1"/>
          </p:cNvSpPr>
          <p:nvPr/>
        </p:nvSpPr>
        <p:spPr bwMode="auto">
          <a:xfrm>
            <a:off x="4335463" y="958850"/>
            <a:ext cx="161925" cy="322263"/>
          </a:xfrm>
          <a:custGeom>
            <a:avLst/>
            <a:gdLst>
              <a:gd name="T0" fmla="*/ 149290 w 149290"/>
              <a:gd name="T1" fmla="*/ 0 h 323461"/>
              <a:gd name="T2" fmla="*/ 111968 w 149290"/>
              <a:gd name="T3" fmla="*/ 323461 h 323461"/>
              <a:gd name="T4" fmla="*/ 0 w 149290"/>
              <a:gd name="T5" fmla="*/ 74645 h 323461"/>
              <a:gd name="T6" fmla="*/ 149290 w 149290"/>
              <a:gd name="T7" fmla="*/ 0 h 323461"/>
              <a:gd name="T8" fmla="*/ 0 60000 65536"/>
              <a:gd name="T9" fmla="*/ 0 60000 65536"/>
              <a:gd name="T10" fmla="*/ 0 60000 65536"/>
              <a:gd name="T11" fmla="*/ 0 60000 65536"/>
              <a:gd name="T12" fmla="*/ 0 w 149290"/>
              <a:gd name="T13" fmla="*/ 0 h 323461"/>
              <a:gd name="T14" fmla="*/ 149290 w 149290"/>
              <a:gd name="T15" fmla="*/ 323461 h 323461"/>
            </a:gdLst>
            <a:ahLst/>
            <a:cxnLst>
              <a:cxn ang="T8">
                <a:pos x="T0" y="T1"/>
              </a:cxn>
              <a:cxn ang="T9">
                <a:pos x="T2" y="T3"/>
              </a:cxn>
              <a:cxn ang="T10">
                <a:pos x="T4" y="T5"/>
              </a:cxn>
              <a:cxn ang="T11">
                <a:pos x="T6" y="T7"/>
              </a:cxn>
            </a:cxnLst>
            <a:rect l="T12" t="T13" r="T14" b="T15"/>
            <a:pathLst>
              <a:path w="149290" h="323461">
                <a:moveTo>
                  <a:pt x="149290" y="0"/>
                </a:moveTo>
                <a:lnTo>
                  <a:pt x="111968" y="323461"/>
                </a:lnTo>
                <a:lnTo>
                  <a:pt x="0" y="74645"/>
                </a:lnTo>
                <a:lnTo>
                  <a:pt x="149290" y="0"/>
                </a:lnTo>
                <a:close/>
              </a:path>
            </a:pathLst>
          </a:custGeom>
          <a:solidFill>
            <a:srgbClr val="0F79A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5" name="任意多边形 49"/>
          <p:cNvSpPr>
            <a:spLocks noChangeArrowheads="1"/>
          </p:cNvSpPr>
          <p:nvPr/>
        </p:nvSpPr>
        <p:spPr bwMode="auto">
          <a:xfrm>
            <a:off x="4341813" y="1038225"/>
            <a:ext cx="298450" cy="622300"/>
          </a:xfrm>
          <a:custGeom>
            <a:avLst/>
            <a:gdLst>
              <a:gd name="T0" fmla="*/ 0 w 298579"/>
              <a:gd name="T1" fmla="*/ 0 h 622040"/>
              <a:gd name="T2" fmla="*/ 298579 w 298579"/>
              <a:gd name="T3" fmla="*/ 622040 h 622040"/>
              <a:gd name="T4" fmla="*/ 37322 w 298579"/>
              <a:gd name="T5" fmla="*/ 373224 h 622040"/>
              <a:gd name="T6" fmla="*/ 0 w 298579"/>
              <a:gd name="T7" fmla="*/ 0 h 622040"/>
              <a:gd name="T8" fmla="*/ 0 60000 65536"/>
              <a:gd name="T9" fmla="*/ 0 60000 65536"/>
              <a:gd name="T10" fmla="*/ 0 60000 65536"/>
              <a:gd name="T11" fmla="*/ 0 60000 65536"/>
              <a:gd name="T12" fmla="*/ 0 w 298579"/>
              <a:gd name="T13" fmla="*/ 0 h 622040"/>
              <a:gd name="T14" fmla="*/ 298579 w 298579"/>
              <a:gd name="T15" fmla="*/ 622040 h 622040"/>
            </a:gdLst>
            <a:ahLst/>
            <a:cxnLst>
              <a:cxn ang="T8">
                <a:pos x="T0" y="T1"/>
              </a:cxn>
              <a:cxn ang="T9">
                <a:pos x="T2" y="T3"/>
              </a:cxn>
              <a:cxn ang="T10">
                <a:pos x="T4" y="T5"/>
              </a:cxn>
              <a:cxn ang="T11">
                <a:pos x="T6" y="T7"/>
              </a:cxn>
            </a:cxnLst>
            <a:rect l="T12" t="T13" r="T14" b="T15"/>
            <a:pathLst>
              <a:path w="298579" h="622040">
                <a:moveTo>
                  <a:pt x="0" y="0"/>
                </a:moveTo>
                <a:lnTo>
                  <a:pt x="298579" y="622040"/>
                </a:lnTo>
                <a:lnTo>
                  <a:pt x="37322" y="373224"/>
                </a:lnTo>
                <a:lnTo>
                  <a:pt x="0" y="0"/>
                </a:lnTo>
                <a:close/>
              </a:path>
            </a:pathLst>
          </a:custGeom>
          <a:solidFill>
            <a:srgbClr val="0F59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任意多边形 50"/>
          <p:cNvSpPr>
            <a:spLocks noChangeArrowheads="1"/>
          </p:cNvSpPr>
          <p:nvPr/>
        </p:nvSpPr>
        <p:spPr bwMode="auto">
          <a:xfrm>
            <a:off x="4378325" y="1412875"/>
            <a:ext cx="430213" cy="373063"/>
          </a:xfrm>
          <a:custGeom>
            <a:avLst/>
            <a:gdLst>
              <a:gd name="T0" fmla="*/ 0 w 429208"/>
              <a:gd name="T1" fmla="*/ 0 h 373225"/>
              <a:gd name="T2" fmla="*/ 429208 w 429208"/>
              <a:gd name="T3" fmla="*/ 373225 h 373225"/>
              <a:gd name="T4" fmla="*/ 0 w 429208"/>
              <a:gd name="T5" fmla="*/ 93306 h 373225"/>
              <a:gd name="T6" fmla="*/ 0 w 429208"/>
              <a:gd name="T7" fmla="*/ 0 h 373225"/>
              <a:gd name="T8" fmla="*/ 0 60000 65536"/>
              <a:gd name="T9" fmla="*/ 0 60000 65536"/>
              <a:gd name="T10" fmla="*/ 0 60000 65536"/>
              <a:gd name="T11" fmla="*/ 0 60000 65536"/>
              <a:gd name="T12" fmla="*/ 0 w 429208"/>
              <a:gd name="T13" fmla="*/ 0 h 373225"/>
              <a:gd name="T14" fmla="*/ 429208 w 429208"/>
              <a:gd name="T15" fmla="*/ 373225 h 373225"/>
            </a:gdLst>
            <a:ahLst/>
            <a:cxnLst>
              <a:cxn ang="T8">
                <a:pos x="T0" y="T1"/>
              </a:cxn>
              <a:cxn ang="T9">
                <a:pos x="T2" y="T3"/>
              </a:cxn>
              <a:cxn ang="T10">
                <a:pos x="T4" y="T5"/>
              </a:cxn>
              <a:cxn ang="T11">
                <a:pos x="T6" y="T7"/>
              </a:cxn>
            </a:cxnLst>
            <a:rect l="T12" t="T13" r="T14" b="T15"/>
            <a:pathLst>
              <a:path w="429208" h="373225">
                <a:moveTo>
                  <a:pt x="0" y="0"/>
                </a:moveTo>
                <a:lnTo>
                  <a:pt x="429208" y="373225"/>
                </a:lnTo>
                <a:lnTo>
                  <a:pt x="0" y="93306"/>
                </a:lnTo>
                <a:lnTo>
                  <a:pt x="0" y="0"/>
                </a:lnTo>
                <a:close/>
              </a:path>
            </a:pathLst>
          </a:custGeom>
          <a:solidFill>
            <a:srgbClr val="11425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7" name="任意多边形 51"/>
          <p:cNvSpPr>
            <a:spLocks noChangeArrowheads="1"/>
          </p:cNvSpPr>
          <p:nvPr/>
        </p:nvSpPr>
        <p:spPr bwMode="auto">
          <a:xfrm>
            <a:off x="4422775" y="1238250"/>
            <a:ext cx="373063" cy="539750"/>
          </a:xfrm>
          <a:custGeom>
            <a:avLst/>
            <a:gdLst>
              <a:gd name="T0" fmla="*/ 0 w 329682"/>
              <a:gd name="T1" fmla="*/ 0 h 541176"/>
              <a:gd name="T2" fmla="*/ 329682 w 329682"/>
              <a:gd name="T3" fmla="*/ 541176 h 541176"/>
              <a:gd name="T4" fmla="*/ 174172 w 329682"/>
              <a:gd name="T5" fmla="*/ 385666 h 541176"/>
              <a:gd name="T6" fmla="*/ 0 w 329682"/>
              <a:gd name="T7" fmla="*/ 0 h 541176"/>
              <a:gd name="T8" fmla="*/ 0 60000 65536"/>
              <a:gd name="T9" fmla="*/ 0 60000 65536"/>
              <a:gd name="T10" fmla="*/ 0 60000 65536"/>
              <a:gd name="T11" fmla="*/ 0 60000 65536"/>
              <a:gd name="T12" fmla="*/ 0 w 329682"/>
              <a:gd name="T13" fmla="*/ 0 h 541176"/>
              <a:gd name="T14" fmla="*/ 329682 w 329682"/>
              <a:gd name="T15" fmla="*/ 541176 h 541176"/>
            </a:gdLst>
            <a:ahLst/>
            <a:cxnLst>
              <a:cxn ang="T8">
                <a:pos x="T0" y="T1"/>
              </a:cxn>
              <a:cxn ang="T9">
                <a:pos x="T2" y="T3"/>
              </a:cxn>
              <a:cxn ang="T10">
                <a:pos x="T4" y="T5"/>
              </a:cxn>
              <a:cxn ang="T11">
                <a:pos x="T6" y="T7"/>
              </a:cxn>
            </a:cxnLst>
            <a:rect l="T12" t="T13" r="T14" b="T15"/>
            <a:pathLst>
              <a:path w="329682" h="541176">
                <a:moveTo>
                  <a:pt x="0" y="0"/>
                </a:moveTo>
                <a:lnTo>
                  <a:pt x="329682" y="541176"/>
                </a:lnTo>
                <a:lnTo>
                  <a:pt x="174172" y="385666"/>
                </a:lnTo>
                <a:lnTo>
                  <a:pt x="0" y="0"/>
                </a:lnTo>
                <a:close/>
              </a:path>
            </a:pathLst>
          </a:custGeom>
          <a:solidFill>
            <a:srgbClr val="007D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任意多边形 52"/>
          <p:cNvSpPr>
            <a:spLocks noChangeArrowheads="1"/>
          </p:cNvSpPr>
          <p:nvPr/>
        </p:nvSpPr>
        <p:spPr bwMode="auto">
          <a:xfrm rot="183440">
            <a:off x="-136525" y="184150"/>
            <a:ext cx="390525" cy="179388"/>
          </a:xfrm>
          <a:custGeom>
            <a:avLst/>
            <a:gdLst>
              <a:gd name="T0" fmla="*/ 43542 w 391885"/>
              <a:gd name="T1" fmla="*/ 0 h 180392"/>
              <a:gd name="T2" fmla="*/ 391885 w 391885"/>
              <a:gd name="T3" fmla="*/ 180392 h 180392"/>
              <a:gd name="T4" fmla="*/ 0 w 391885"/>
              <a:gd name="T5" fmla="*/ 143070 h 180392"/>
              <a:gd name="T6" fmla="*/ 43542 w 391885"/>
              <a:gd name="T7" fmla="*/ 0 h 180392"/>
              <a:gd name="T8" fmla="*/ 0 60000 65536"/>
              <a:gd name="T9" fmla="*/ 0 60000 65536"/>
              <a:gd name="T10" fmla="*/ 0 60000 65536"/>
              <a:gd name="T11" fmla="*/ 0 60000 65536"/>
              <a:gd name="T12" fmla="*/ 0 w 391885"/>
              <a:gd name="T13" fmla="*/ 0 h 180392"/>
              <a:gd name="T14" fmla="*/ 391885 w 391885"/>
              <a:gd name="T15" fmla="*/ 180392 h 180392"/>
            </a:gdLst>
            <a:ahLst/>
            <a:cxnLst>
              <a:cxn ang="T8">
                <a:pos x="T0" y="T1"/>
              </a:cxn>
              <a:cxn ang="T9">
                <a:pos x="T2" y="T3"/>
              </a:cxn>
              <a:cxn ang="T10">
                <a:pos x="T4" y="T5"/>
              </a:cxn>
              <a:cxn ang="T11">
                <a:pos x="T6" y="T7"/>
              </a:cxn>
            </a:cxnLst>
            <a:rect l="T12" t="T13" r="T14" b="T15"/>
            <a:pathLst>
              <a:path w="391885" h="180392">
                <a:moveTo>
                  <a:pt x="43542" y="0"/>
                </a:moveTo>
                <a:lnTo>
                  <a:pt x="391885" y="180392"/>
                </a:lnTo>
                <a:lnTo>
                  <a:pt x="0" y="143070"/>
                </a:lnTo>
                <a:lnTo>
                  <a:pt x="43542" y="0"/>
                </a:lnTo>
                <a:close/>
              </a:path>
            </a:pathLst>
          </a:custGeom>
          <a:solidFill>
            <a:srgbClr val="FCB7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9" name="任意多边形 53"/>
          <p:cNvSpPr>
            <a:spLocks noChangeArrowheads="1"/>
          </p:cNvSpPr>
          <p:nvPr/>
        </p:nvSpPr>
        <p:spPr bwMode="auto">
          <a:xfrm>
            <a:off x="4824413" y="603250"/>
            <a:ext cx="242887" cy="515938"/>
          </a:xfrm>
          <a:custGeom>
            <a:avLst/>
            <a:gdLst>
              <a:gd name="T0" fmla="*/ 199053 w 242596"/>
              <a:gd name="T1" fmla="*/ 0 h 516294"/>
              <a:gd name="T2" fmla="*/ 0 w 242596"/>
              <a:gd name="T3" fmla="*/ 111967 h 516294"/>
              <a:gd name="T4" fmla="*/ 242596 w 242596"/>
              <a:gd name="T5" fmla="*/ 516294 h 516294"/>
              <a:gd name="T6" fmla="*/ 199053 w 242596"/>
              <a:gd name="T7" fmla="*/ 0 h 516294"/>
              <a:gd name="T8" fmla="*/ 0 60000 65536"/>
              <a:gd name="T9" fmla="*/ 0 60000 65536"/>
              <a:gd name="T10" fmla="*/ 0 60000 65536"/>
              <a:gd name="T11" fmla="*/ 0 60000 65536"/>
              <a:gd name="T12" fmla="*/ 0 w 242596"/>
              <a:gd name="T13" fmla="*/ 0 h 516294"/>
              <a:gd name="T14" fmla="*/ 242596 w 242596"/>
              <a:gd name="T15" fmla="*/ 516294 h 516294"/>
            </a:gdLst>
            <a:ahLst/>
            <a:cxnLst>
              <a:cxn ang="T8">
                <a:pos x="T0" y="T1"/>
              </a:cxn>
              <a:cxn ang="T9">
                <a:pos x="T2" y="T3"/>
              </a:cxn>
              <a:cxn ang="T10">
                <a:pos x="T4" y="T5"/>
              </a:cxn>
              <a:cxn ang="T11">
                <a:pos x="T6" y="T7"/>
              </a:cxn>
            </a:cxnLst>
            <a:rect l="T12" t="T13" r="T14" b="T15"/>
            <a:pathLst>
              <a:path w="242596" h="516294">
                <a:moveTo>
                  <a:pt x="199053" y="0"/>
                </a:moveTo>
                <a:lnTo>
                  <a:pt x="0" y="111967"/>
                </a:lnTo>
                <a:lnTo>
                  <a:pt x="242596" y="516294"/>
                </a:lnTo>
                <a:lnTo>
                  <a:pt x="199053" y="0"/>
                </a:lnTo>
                <a:close/>
              </a:path>
            </a:pathLst>
          </a:custGeom>
          <a:solidFill>
            <a:srgbClr val="125B7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0" name="任意多边形 54"/>
          <p:cNvSpPr>
            <a:spLocks noChangeArrowheads="1"/>
          </p:cNvSpPr>
          <p:nvPr/>
        </p:nvSpPr>
        <p:spPr bwMode="auto">
          <a:xfrm>
            <a:off x="5762625" y="1263650"/>
            <a:ext cx="523875" cy="266700"/>
          </a:xfrm>
          <a:custGeom>
            <a:avLst/>
            <a:gdLst>
              <a:gd name="T0" fmla="*/ 0 w 522514"/>
              <a:gd name="T1" fmla="*/ 12441 h 267478"/>
              <a:gd name="T2" fmla="*/ 522514 w 522514"/>
              <a:gd name="T3" fmla="*/ 0 h 267478"/>
              <a:gd name="T4" fmla="*/ 273698 w 522514"/>
              <a:gd name="T5" fmla="*/ 267478 h 267478"/>
              <a:gd name="T6" fmla="*/ 0 w 522514"/>
              <a:gd name="T7" fmla="*/ 12441 h 267478"/>
              <a:gd name="T8" fmla="*/ 0 60000 65536"/>
              <a:gd name="T9" fmla="*/ 0 60000 65536"/>
              <a:gd name="T10" fmla="*/ 0 60000 65536"/>
              <a:gd name="T11" fmla="*/ 0 60000 65536"/>
              <a:gd name="T12" fmla="*/ 0 w 522514"/>
              <a:gd name="T13" fmla="*/ 0 h 267478"/>
              <a:gd name="T14" fmla="*/ 522514 w 522514"/>
              <a:gd name="T15" fmla="*/ 267478 h 267478"/>
            </a:gdLst>
            <a:ahLst/>
            <a:cxnLst>
              <a:cxn ang="T8">
                <a:pos x="T0" y="T1"/>
              </a:cxn>
              <a:cxn ang="T9">
                <a:pos x="T2" y="T3"/>
              </a:cxn>
              <a:cxn ang="T10">
                <a:pos x="T4" y="T5"/>
              </a:cxn>
              <a:cxn ang="T11">
                <a:pos x="T6" y="T7"/>
              </a:cxn>
            </a:cxnLst>
            <a:rect l="T12" t="T13" r="T14" b="T15"/>
            <a:pathLst>
              <a:path w="522514" h="267478">
                <a:moveTo>
                  <a:pt x="0" y="12441"/>
                </a:moveTo>
                <a:lnTo>
                  <a:pt x="522514" y="0"/>
                </a:lnTo>
                <a:lnTo>
                  <a:pt x="273698" y="267478"/>
                </a:lnTo>
                <a:lnTo>
                  <a:pt x="0" y="12441"/>
                </a:lnTo>
                <a:close/>
              </a:path>
            </a:pathLst>
          </a:custGeom>
          <a:solidFill>
            <a:srgbClr val="1A80B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任意多边形 55"/>
          <p:cNvSpPr>
            <a:spLocks noChangeArrowheads="1"/>
          </p:cNvSpPr>
          <p:nvPr/>
        </p:nvSpPr>
        <p:spPr bwMode="auto">
          <a:xfrm>
            <a:off x="5119688" y="2162175"/>
            <a:ext cx="341312" cy="254000"/>
          </a:xfrm>
          <a:custGeom>
            <a:avLst/>
            <a:gdLst>
              <a:gd name="T0" fmla="*/ 161731 w 342123"/>
              <a:gd name="T1" fmla="*/ 0 h 255037"/>
              <a:gd name="T2" fmla="*/ 0 w 342123"/>
              <a:gd name="T3" fmla="*/ 255037 h 255037"/>
              <a:gd name="T4" fmla="*/ 342123 w 342123"/>
              <a:gd name="T5" fmla="*/ 80865 h 255037"/>
              <a:gd name="T6" fmla="*/ 161731 w 342123"/>
              <a:gd name="T7" fmla="*/ 0 h 255037"/>
              <a:gd name="T8" fmla="*/ 0 60000 65536"/>
              <a:gd name="T9" fmla="*/ 0 60000 65536"/>
              <a:gd name="T10" fmla="*/ 0 60000 65536"/>
              <a:gd name="T11" fmla="*/ 0 60000 65536"/>
              <a:gd name="T12" fmla="*/ 0 w 342123"/>
              <a:gd name="T13" fmla="*/ 0 h 255037"/>
              <a:gd name="T14" fmla="*/ 342123 w 342123"/>
              <a:gd name="T15" fmla="*/ 255037 h 255037"/>
            </a:gdLst>
            <a:ahLst/>
            <a:cxnLst>
              <a:cxn ang="T8">
                <a:pos x="T0" y="T1"/>
              </a:cxn>
              <a:cxn ang="T9">
                <a:pos x="T2" y="T3"/>
              </a:cxn>
              <a:cxn ang="T10">
                <a:pos x="T4" y="T5"/>
              </a:cxn>
              <a:cxn ang="T11">
                <a:pos x="T6" y="T7"/>
              </a:cxn>
            </a:cxnLst>
            <a:rect l="T12" t="T13" r="T14" b="T15"/>
            <a:pathLst>
              <a:path w="342123" h="255037">
                <a:moveTo>
                  <a:pt x="161731" y="0"/>
                </a:moveTo>
                <a:lnTo>
                  <a:pt x="0" y="255037"/>
                </a:lnTo>
                <a:lnTo>
                  <a:pt x="342123" y="80865"/>
                </a:lnTo>
                <a:lnTo>
                  <a:pt x="161731" y="0"/>
                </a:lnTo>
                <a:close/>
              </a:path>
            </a:pathLst>
          </a:custGeom>
          <a:solidFill>
            <a:srgbClr val="175E7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2" name="任意多边形 56"/>
          <p:cNvSpPr>
            <a:spLocks noChangeArrowheads="1"/>
          </p:cNvSpPr>
          <p:nvPr/>
        </p:nvSpPr>
        <p:spPr bwMode="auto">
          <a:xfrm>
            <a:off x="6000750" y="4178300"/>
            <a:ext cx="515938" cy="373063"/>
          </a:xfrm>
          <a:custGeom>
            <a:avLst/>
            <a:gdLst>
              <a:gd name="T0" fmla="*/ 255036 w 516293"/>
              <a:gd name="T1" fmla="*/ 0 h 373224"/>
              <a:gd name="T2" fmla="*/ 0 w 516293"/>
              <a:gd name="T3" fmla="*/ 373224 h 373224"/>
              <a:gd name="T4" fmla="*/ 516293 w 516293"/>
              <a:gd name="T5" fmla="*/ 242596 h 373224"/>
              <a:gd name="T6" fmla="*/ 255036 w 516293"/>
              <a:gd name="T7" fmla="*/ 0 h 373224"/>
              <a:gd name="T8" fmla="*/ 0 60000 65536"/>
              <a:gd name="T9" fmla="*/ 0 60000 65536"/>
              <a:gd name="T10" fmla="*/ 0 60000 65536"/>
              <a:gd name="T11" fmla="*/ 0 60000 65536"/>
              <a:gd name="T12" fmla="*/ 0 w 516293"/>
              <a:gd name="T13" fmla="*/ 0 h 373224"/>
              <a:gd name="T14" fmla="*/ 516293 w 516293"/>
              <a:gd name="T15" fmla="*/ 373224 h 373224"/>
            </a:gdLst>
            <a:ahLst/>
            <a:cxnLst>
              <a:cxn ang="T8">
                <a:pos x="T0" y="T1"/>
              </a:cxn>
              <a:cxn ang="T9">
                <a:pos x="T2" y="T3"/>
              </a:cxn>
              <a:cxn ang="T10">
                <a:pos x="T4" y="T5"/>
              </a:cxn>
              <a:cxn ang="T11">
                <a:pos x="T6" y="T7"/>
              </a:cxn>
            </a:cxnLst>
            <a:rect l="T12" t="T13" r="T14" b="T15"/>
            <a:pathLst>
              <a:path w="516293" h="373224">
                <a:moveTo>
                  <a:pt x="255036" y="0"/>
                </a:moveTo>
                <a:lnTo>
                  <a:pt x="0" y="373224"/>
                </a:lnTo>
                <a:lnTo>
                  <a:pt x="516293" y="242596"/>
                </a:lnTo>
                <a:lnTo>
                  <a:pt x="255036" y="0"/>
                </a:lnTo>
                <a:close/>
              </a:path>
            </a:pathLst>
          </a:custGeom>
          <a:solidFill>
            <a:srgbClr val="F0595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3" name="任意多边形 57"/>
          <p:cNvSpPr>
            <a:spLocks noChangeArrowheads="1"/>
          </p:cNvSpPr>
          <p:nvPr/>
        </p:nvSpPr>
        <p:spPr bwMode="auto">
          <a:xfrm>
            <a:off x="5119688" y="4476750"/>
            <a:ext cx="392112" cy="434975"/>
          </a:xfrm>
          <a:custGeom>
            <a:avLst/>
            <a:gdLst>
              <a:gd name="T0" fmla="*/ 0 w 391885"/>
              <a:gd name="T1" fmla="*/ 0 h 435429"/>
              <a:gd name="T2" fmla="*/ 391885 w 391885"/>
              <a:gd name="T3" fmla="*/ 111967 h 435429"/>
              <a:gd name="T4" fmla="*/ 186612 w 391885"/>
              <a:gd name="T5" fmla="*/ 435429 h 435429"/>
              <a:gd name="T6" fmla="*/ 0 w 391885"/>
              <a:gd name="T7" fmla="*/ 0 h 435429"/>
              <a:gd name="T8" fmla="*/ 0 60000 65536"/>
              <a:gd name="T9" fmla="*/ 0 60000 65536"/>
              <a:gd name="T10" fmla="*/ 0 60000 65536"/>
              <a:gd name="T11" fmla="*/ 0 60000 65536"/>
              <a:gd name="T12" fmla="*/ 0 w 391885"/>
              <a:gd name="T13" fmla="*/ 0 h 435429"/>
              <a:gd name="T14" fmla="*/ 391885 w 391885"/>
              <a:gd name="T15" fmla="*/ 435429 h 435429"/>
            </a:gdLst>
            <a:ahLst/>
            <a:cxnLst>
              <a:cxn ang="T8">
                <a:pos x="T0" y="T1"/>
              </a:cxn>
              <a:cxn ang="T9">
                <a:pos x="T2" y="T3"/>
              </a:cxn>
              <a:cxn ang="T10">
                <a:pos x="T4" y="T5"/>
              </a:cxn>
              <a:cxn ang="T11">
                <a:pos x="T6" y="T7"/>
              </a:cxn>
            </a:cxnLst>
            <a:rect l="T12" t="T13" r="T14" b="T15"/>
            <a:pathLst>
              <a:path w="391885" h="435429">
                <a:moveTo>
                  <a:pt x="0" y="0"/>
                </a:moveTo>
                <a:lnTo>
                  <a:pt x="391885" y="111967"/>
                </a:lnTo>
                <a:lnTo>
                  <a:pt x="186612" y="435429"/>
                </a:lnTo>
                <a:lnTo>
                  <a:pt x="0" y="0"/>
                </a:lnTo>
                <a:close/>
              </a:path>
            </a:pathLst>
          </a:custGeom>
          <a:solidFill>
            <a:srgbClr val="F7B11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4" name="任意多边形 58"/>
          <p:cNvSpPr>
            <a:spLocks noChangeArrowheads="1"/>
          </p:cNvSpPr>
          <p:nvPr/>
        </p:nvSpPr>
        <p:spPr bwMode="auto">
          <a:xfrm>
            <a:off x="5751513" y="4881563"/>
            <a:ext cx="236537" cy="211137"/>
          </a:xfrm>
          <a:custGeom>
            <a:avLst/>
            <a:gdLst>
              <a:gd name="T0" fmla="*/ 68424 w 236375"/>
              <a:gd name="T1" fmla="*/ 0 h 211494"/>
              <a:gd name="T2" fmla="*/ 236375 w 236375"/>
              <a:gd name="T3" fmla="*/ 211494 h 211494"/>
              <a:gd name="T4" fmla="*/ 0 w 236375"/>
              <a:gd name="T5" fmla="*/ 130628 h 211494"/>
              <a:gd name="T6" fmla="*/ 68424 w 236375"/>
              <a:gd name="T7" fmla="*/ 0 h 211494"/>
              <a:gd name="T8" fmla="*/ 0 60000 65536"/>
              <a:gd name="T9" fmla="*/ 0 60000 65536"/>
              <a:gd name="T10" fmla="*/ 0 60000 65536"/>
              <a:gd name="T11" fmla="*/ 0 60000 65536"/>
              <a:gd name="T12" fmla="*/ 0 w 236375"/>
              <a:gd name="T13" fmla="*/ 0 h 211494"/>
              <a:gd name="T14" fmla="*/ 236375 w 236375"/>
              <a:gd name="T15" fmla="*/ 211494 h 211494"/>
            </a:gdLst>
            <a:ahLst/>
            <a:cxnLst>
              <a:cxn ang="T8">
                <a:pos x="T0" y="T1"/>
              </a:cxn>
              <a:cxn ang="T9">
                <a:pos x="T2" y="T3"/>
              </a:cxn>
              <a:cxn ang="T10">
                <a:pos x="T4" y="T5"/>
              </a:cxn>
              <a:cxn ang="T11">
                <a:pos x="T6" y="T7"/>
              </a:cxn>
            </a:cxnLst>
            <a:rect l="T12" t="T13" r="T14" b="T15"/>
            <a:pathLst>
              <a:path w="236375" h="211494">
                <a:moveTo>
                  <a:pt x="68424" y="0"/>
                </a:moveTo>
                <a:lnTo>
                  <a:pt x="236375" y="211494"/>
                </a:lnTo>
                <a:lnTo>
                  <a:pt x="0" y="130628"/>
                </a:lnTo>
                <a:lnTo>
                  <a:pt x="68424" y="0"/>
                </a:lnTo>
                <a:close/>
              </a:path>
            </a:pathLst>
          </a:custGeom>
          <a:solidFill>
            <a:srgbClr val="EF6D6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任意多边形 59"/>
          <p:cNvSpPr>
            <a:spLocks noChangeArrowheads="1"/>
          </p:cNvSpPr>
          <p:nvPr/>
        </p:nvSpPr>
        <p:spPr bwMode="auto">
          <a:xfrm>
            <a:off x="6950075" y="4981575"/>
            <a:ext cx="187325" cy="260350"/>
          </a:xfrm>
          <a:custGeom>
            <a:avLst/>
            <a:gdLst>
              <a:gd name="T0" fmla="*/ 186612 w 186612"/>
              <a:gd name="T1" fmla="*/ 242596 h 261257"/>
              <a:gd name="T2" fmla="*/ 105746 w 186612"/>
              <a:gd name="T3" fmla="*/ 0 h 261257"/>
              <a:gd name="T4" fmla="*/ 0 w 186612"/>
              <a:gd name="T5" fmla="*/ 261257 h 261257"/>
              <a:gd name="T6" fmla="*/ 186612 w 186612"/>
              <a:gd name="T7" fmla="*/ 242596 h 261257"/>
              <a:gd name="T8" fmla="*/ 0 60000 65536"/>
              <a:gd name="T9" fmla="*/ 0 60000 65536"/>
              <a:gd name="T10" fmla="*/ 0 60000 65536"/>
              <a:gd name="T11" fmla="*/ 0 60000 65536"/>
              <a:gd name="T12" fmla="*/ 0 w 186612"/>
              <a:gd name="T13" fmla="*/ 0 h 261257"/>
              <a:gd name="T14" fmla="*/ 186612 w 186612"/>
              <a:gd name="T15" fmla="*/ 261257 h 261257"/>
            </a:gdLst>
            <a:ahLst/>
            <a:cxnLst>
              <a:cxn ang="T8">
                <a:pos x="T0" y="T1"/>
              </a:cxn>
              <a:cxn ang="T9">
                <a:pos x="T2" y="T3"/>
              </a:cxn>
              <a:cxn ang="T10">
                <a:pos x="T4" y="T5"/>
              </a:cxn>
              <a:cxn ang="T11">
                <a:pos x="T6" y="T7"/>
              </a:cxn>
            </a:cxnLst>
            <a:rect l="T12" t="T13" r="T14" b="T15"/>
            <a:pathLst>
              <a:path w="186612" h="261257">
                <a:moveTo>
                  <a:pt x="186612" y="242596"/>
                </a:moveTo>
                <a:lnTo>
                  <a:pt x="105746" y="0"/>
                </a:lnTo>
                <a:lnTo>
                  <a:pt x="0" y="261257"/>
                </a:lnTo>
                <a:lnTo>
                  <a:pt x="186612" y="242596"/>
                </a:lnTo>
                <a:close/>
              </a:path>
            </a:pathLst>
          </a:custGeom>
          <a:solidFill>
            <a:srgbClr val="E919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6" name="TextBox 7"/>
          <p:cNvSpPr>
            <a:spLocks noChangeArrowheads="1"/>
          </p:cNvSpPr>
          <p:nvPr/>
        </p:nvSpPr>
        <p:spPr bwMode="auto">
          <a:xfrm>
            <a:off x="5734462" y="2277051"/>
            <a:ext cx="28693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Arial" panose="020B0604020202020204" pitchFamily="34" charset="0"/>
              </a:defRPr>
            </a:lvl1pPr>
            <a:lvl2pPr marL="742950" indent="-285750">
              <a:defRPr sz="1300">
                <a:solidFill>
                  <a:schemeClr val="tx1"/>
                </a:solidFill>
                <a:latin typeface="Arial" panose="020B0604020202020204" pitchFamily="34" charset="0"/>
              </a:defRPr>
            </a:lvl2pPr>
            <a:lvl3pPr marL="1143000" indent="-228600">
              <a:defRPr sz="1300">
                <a:solidFill>
                  <a:schemeClr val="tx1"/>
                </a:solidFill>
                <a:latin typeface="Arial" panose="020B0604020202020204" pitchFamily="34" charset="0"/>
              </a:defRPr>
            </a:lvl3pPr>
            <a:lvl4pPr marL="1600200" indent="-228600">
              <a:defRPr sz="1300">
                <a:solidFill>
                  <a:schemeClr val="tx1"/>
                </a:solidFill>
                <a:latin typeface="Arial" panose="020B0604020202020204" pitchFamily="34" charset="0"/>
              </a:defRPr>
            </a:lvl4pPr>
            <a:lvl5pPr marL="2057400" indent="-228600">
              <a:defRPr sz="1300">
                <a:solidFill>
                  <a:schemeClr val="tx1"/>
                </a:solidFill>
                <a:latin typeface="Arial" panose="020B0604020202020204" pitchFamily="34" charset="0"/>
              </a:defRPr>
            </a:lvl5pPr>
            <a:lvl6pPr marL="2514600" indent="-228600" defTabSz="685800" fontAlgn="base">
              <a:spcBef>
                <a:spcPct val="0"/>
              </a:spcBef>
              <a:spcAft>
                <a:spcPct val="0"/>
              </a:spcAft>
              <a:buFont typeface="Arial" panose="020B0604020202020204" pitchFamily="34" charset="0"/>
              <a:defRPr sz="1300">
                <a:solidFill>
                  <a:schemeClr val="tx1"/>
                </a:solidFill>
                <a:latin typeface="Arial" panose="020B0604020202020204" pitchFamily="34" charset="0"/>
              </a:defRPr>
            </a:lvl6pPr>
            <a:lvl7pPr marL="2971800" indent="-228600" defTabSz="685800" fontAlgn="base">
              <a:spcBef>
                <a:spcPct val="0"/>
              </a:spcBef>
              <a:spcAft>
                <a:spcPct val="0"/>
              </a:spcAft>
              <a:buFont typeface="Arial" panose="020B0604020202020204" pitchFamily="34" charset="0"/>
              <a:defRPr sz="1300">
                <a:solidFill>
                  <a:schemeClr val="tx1"/>
                </a:solidFill>
                <a:latin typeface="Arial" panose="020B0604020202020204" pitchFamily="34" charset="0"/>
              </a:defRPr>
            </a:lvl7pPr>
            <a:lvl8pPr marL="3429000" indent="-228600" defTabSz="685800" fontAlgn="base">
              <a:spcBef>
                <a:spcPct val="0"/>
              </a:spcBef>
              <a:spcAft>
                <a:spcPct val="0"/>
              </a:spcAft>
              <a:buFont typeface="Arial" panose="020B0604020202020204" pitchFamily="34" charset="0"/>
              <a:defRPr sz="1300">
                <a:solidFill>
                  <a:schemeClr val="tx1"/>
                </a:solidFill>
                <a:latin typeface="Arial" panose="020B0604020202020204" pitchFamily="34" charset="0"/>
              </a:defRPr>
            </a:lvl8pPr>
            <a:lvl9pPr marL="3886200" indent="-228600" defTabSz="685800" fontAlgn="base">
              <a:spcBef>
                <a:spcPct val="0"/>
              </a:spcBef>
              <a:spcAft>
                <a:spcPct val="0"/>
              </a:spcAft>
              <a:buFont typeface="Arial" panose="020B0604020202020204" pitchFamily="34" charset="0"/>
              <a:defRPr sz="1300">
                <a:solidFill>
                  <a:schemeClr val="tx1"/>
                </a:solidFill>
                <a:latin typeface="Arial" panose="020B0604020202020204" pitchFamily="34" charset="0"/>
              </a:defRPr>
            </a:lvl9pPr>
          </a:lstStyle>
          <a:p>
            <a:pPr algn="ctr" defTabSz="685800" fontAlgn="base">
              <a:spcBef>
                <a:spcPct val="0"/>
              </a:spcBef>
              <a:spcAft>
                <a:spcPct val="0"/>
              </a:spcAft>
              <a:buFont typeface="Arial" panose="020B0604020202020204" pitchFamily="34" charset="0"/>
              <a:buNone/>
            </a:pPr>
            <a:r>
              <a:rPr lang="en-US" altLang="zh-CN" sz="3600" dirty="0">
                <a:solidFill>
                  <a:srgbClr val="12B0C9"/>
                </a:solidFill>
                <a:ea typeface="微软雅黑" panose="020B0503020204020204" pitchFamily="34" charset="-122"/>
                <a:sym typeface="Arial" panose="020B0604020202020204" pitchFamily="34" charset="0"/>
              </a:rPr>
              <a:t>THANK YOU</a:t>
            </a:r>
            <a:endParaRPr lang="zh-CN" altLang="en-US" sz="3600" dirty="0">
              <a:solidFill>
                <a:srgbClr val="12B0C9"/>
              </a:solidFill>
              <a:ea typeface="微软雅黑" panose="020B0503020204020204" pitchFamily="34" charset="-122"/>
              <a:sym typeface="Arial" panose="020B0604020202020204" pitchFamily="34" charset="0"/>
            </a:endParaRPr>
          </a:p>
        </p:txBody>
      </p:sp>
      <p:sp>
        <p:nvSpPr>
          <p:cNvPr id="67" name="矩形 62"/>
          <p:cNvSpPr>
            <a:spLocks noChangeArrowheads="1"/>
          </p:cNvSpPr>
          <p:nvPr/>
        </p:nvSpPr>
        <p:spPr bwMode="auto">
          <a:xfrm>
            <a:off x="6989763" y="3030538"/>
            <a:ext cx="358775" cy="36512"/>
          </a:xfrm>
          <a:prstGeom prst="rect">
            <a:avLst/>
          </a:prstGeom>
          <a:solidFill>
            <a:srgbClr val="12B0C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任意多边形 63"/>
          <p:cNvSpPr>
            <a:spLocks noChangeArrowheads="1"/>
          </p:cNvSpPr>
          <p:nvPr/>
        </p:nvSpPr>
        <p:spPr bwMode="auto">
          <a:xfrm rot="11241277">
            <a:off x="5195888" y="3736975"/>
            <a:ext cx="341312" cy="254000"/>
          </a:xfrm>
          <a:custGeom>
            <a:avLst/>
            <a:gdLst>
              <a:gd name="T0" fmla="*/ 161731 w 342123"/>
              <a:gd name="T1" fmla="*/ 0 h 255037"/>
              <a:gd name="T2" fmla="*/ 0 w 342123"/>
              <a:gd name="T3" fmla="*/ 255037 h 255037"/>
              <a:gd name="T4" fmla="*/ 342123 w 342123"/>
              <a:gd name="T5" fmla="*/ 80865 h 255037"/>
              <a:gd name="T6" fmla="*/ 161731 w 342123"/>
              <a:gd name="T7" fmla="*/ 0 h 255037"/>
              <a:gd name="T8" fmla="*/ 0 60000 65536"/>
              <a:gd name="T9" fmla="*/ 0 60000 65536"/>
              <a:gd name="T10" fmla="*/ 0 60000 65536"/>
              <a:gd name="T11" fmla="*/ 0 60000 65536"/>
              <a:gd name="T12" fmla="*/ 0 w 342123"/>
              <a:gd name="T13" fmla="*/ 0 h 255037"/>
              <a:gd name="T14" fmla="*/ 342123 w 342123"/>
              <a:gd name="T15" fmla="*/ 255037 h 255037"/>
            </a:gdLst>
            <a:ahLst/>
            <a:cxnLst>
              <a:cxn ang="T8">
                <a:pos x="T0" y="T1"/>
              </a:cxn>
              <a:cxn ang="T9">
                <a:pos x="T2" y="T3"/>
              </a:cxn>
              <a:cxn ang="T10">
                <a:pos x="T4" y="T5"/>
              </a:cxn>
              <a:cxn ang="T11">
                <a:pos x="T6" y="T7"/>
              </a:cxn>
            </a:cxnLst>
            <a:rect l="T12" t="T13" r="T14" b="T15"/>
            <a:pathLst>
              <a:path w="342123" h="255037">
                <a:moveTo>
                  <a:pt x="161731" y="0"/>
                </a:moveTo>
                <a:lnTo>
                  <a:pt x="0" y="255037"/>
                </a:lnTo>
                <a:lnTo>
                  <a:pt x="342123" y="80865"/>
                </a:lnTo>
                <a:lnTo>
                  <a:pt x="161731" y="0"/>
                </a:lnTo>
                <a:close/>
              </a:path>
            </a:pathLst>
          </a:custGeom>
          <a:solidFill>
            <a:srgbClr val="BE203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9" name="任意多边形 69"/>
          <p:cNvSpPr>
            <a:spLocks noChangeArrowheads="1"/>
          </p:cNvSpPr>
          <p:nvPr/>
        </p:nvSpPr>
        <p:spPr bwMode="auto">
          <a:xfrm>
            <a:off x="8777288" y="1325563"/>
            <a:ext cx="398462" cy="373062"/>
          </a:xfrm>
          <a:custGeom>
            <a:avLst/>
            <a:gdLst>
              <a:gd name="T0" fmla="*/ 379445 w 398106"/>
              <a:gd name="T1" fmla="*/ 18661 h 373225"/>
              <a:gd name="T2" fmla="*/ 398106 w 398106"/>
              <a:gd name="T3" fmla="*/ 373225 h 373225"/>
              <a:gd name="T4" fmla="*/ 0 w 398106"/>
              <a:gd name="T5" fmla="*/ 0 h 373225"/>
              <a:gd name="T6" fmla="*/ 379445 w 398106"/>
              <a:gd name="T7" fmla="*/ 18661 h 373225"/>
              <a:gd name="T8" fmla="*/ 0 60000 65536"/>
              <a:gd name="T9" fmla="*/ 0 60000 65536"/>
              <a:gd name="T10" fmla="*/ 0 60000 65536"/>
              <a:gd name="T11" fmla="*/ 0 60000 65536"/>
              <a:gd name="T12" fmla="*/ 0 w 398106"/>
              <a:gd name="T13" fmla="*/ 0 h 373225"/>
              <a:gd name="T14" fmla="*/ 398106 w 398106"/>
              <a:gd name="T15" fmla="*/ 373225 h 373225"/>
            </a:gdLst>
            <a:ahLst/>
            <a:cxnLst>
              <a:cxn ang="T8">
                <a:pos x="T0" y="T1"/>
              </a:cxn>
              <a:cxn ang="T9">
                <a:pos x="T2" y="T3"/>
              </a:cxn>
              <a:cxn ang="T10">
                <a:pos x="T4" y="T5"/>
              </a:cxn>
              <a:cxn ang="T11">
                <a:pos x="T6" y="T7"/>
              </a:cxn>
            </a:cxnLst>
            <a:rect l="T12" t="T13" r="T14" b="T15"/>
            <a:pathLst>
              <a:path w="398106" h="373225">
                <a:moveTo>
                  <a:pt x="379445" y="18661"/>
                </a:moveTo>
                <a:lnTo>
                  <a:pt x="398106" y="373225"/>
                </a:lnTo>
                <a:lnTo>
                  <a:pt x="0" y="0"/>
                </a:lnTo>
                <a:lnTo>
                  <a:pt x="379445" y="18661"/>
                </a:lnTo>
                <a:close/>
              </a:path>
            </a:pathLst>
          </a:custGeom>
          <a:solidFill>
            <a:srgbClr val="46C6C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任意多边形 70"/>
          <p:cNvSpPr>
            <a:spLocks noChangeArrowheads="1"/>
          </p:cNvSpPr>
          <p:nvPr/>
        </p:nvSpPr>
        <p:spPr bwMode="auto">
          <a:xfrm>
            <a:off x="8440738" y="1325563"/>
            <a:ext cx="541337" cy="185737"/>
          </a:xfrm>
          <a:custGeom>
            <a:avLst/>
            <a:gdLst>
              <a:gd name="T0" fmla="*/ 335902 w 541175"/>
              <a:gd name="T1" fmla="*/ 0 h 186613"/>
              <a:gd name="T2" fmla="*/ 0 w 541175"/>
              <a:gd name="T3" fmla="*/ 143070 h 186613"/>
              <a:gd name="T4" fmla="*/ 541175 w 541175"/>
              <a:gd name="T5" fmla="*/ 186613 h 186613"/>
              <a:gd name="T6" fmla="*/ 335902 w 541175"/>
              <a:gd name="T7" fmla="*/ 0 h 186613"/>
              <a:gd name="T8" fmla="*/ 0 60000 65536"/>
              <a:gd name="T9" fmla="*/ 0 60000 65536"/>
              <a:gd name="T10" fmla="*/ 0 60000 65536"/>
              <a:gd name="T11" fmla="*/ 0 60000 65536"/>
              <a:gd name="T12" fmla="*/ 0 w 541175"/>
              <a:gd name="T13" fmla="*/ 0 h 186613"/>
              <a:gd name="T14" fmla="*/ 541175 w 541175"/>
              <a:gd name="T15" fmla="*/ 186613 h 186613"/>
            </a:gdLst>
            <a:ahLst/>
            <a:cxnLst>
              <a:cxn ang="T8">
                <a:pos x="T0" y="T1"/>
              </a:cxn>
              <a:cxn ang="T9">
                <a:pos x="T2" y="T3"/>
              </a:cxn>
              <a:cxn ang="T10">
                <a:pos x="T4" y="T5"/>
              </a:cxn>
              <a:cxn ang="T11">
                <a:pos x="T6" y="T7"/>
              </a:cxn>
            </a:cxnLst>
            <a:rect l="T12" t="T13" r="T14" b="T15"/>
            <a:pathLst>
              <a:path w="541175" h="186613">
                <a:moveTo>
                  <a:pt x="335902" y="0"/>
                </a:moveTo>
                <a:lnTo>
                  <a:pt x="0" y="143070"/>
                </a:lnTo>
                <a:lnTo>
                  <a:pt x="541175" y="186613"/>
                </a:lnTo>
                <a:lnTo>
                  <a:pt x="335902" y="0"/>
                </a:lnTo>
                <a:close/>
              </a:path>
            </a:pathLst>
          </a:custGeom>
          <a:solidFill>
            <a:srgbClr val="2294B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任意多边形 71"/>
          <p:cNvSpPr>
            <a:spLocks noChangeArrowheads="1"/>
          </p:cNvSpPr>
          <p:nvPr/>
        </p:nvSpPr>
        <p:spPr bwMode="auto">
          <a:xfrm>
            <a:off x="8169275" y="1074738"/>
            <a:ext cx="112713" cy="166687"/>
          </a:xfrm>
          <a:custGeom>
            <a:avLst/>
            <a:gdLst>
              <a:gd name="T0" fmla="*/ 0 w 111967"/>
              <a:gd name="T1" fmla="*/ 0 h 167951"/>
              <a:gd name="T2" fmla="*/ 111967 w 111967"/>
              <a:gd name="T3" fmla="*/ 105747 h 167951"/>
              <a:gd name="T4" fmla="*/ 31102 w 111967"/>
              <a:gd name="T5" fmla="*/ 167951 h 167951"/>
              <a:gd name="T6" fmla="*/ 0 w 111967"/>
              <a:gd name="T7" fmla="*/ 0 h 167951"/>
              <a:gd name="T8" fmla="*/ 0 60000 65536"/>
              <a:gd name="T9" fmla="*/ 0 60000 65536"/>
              <a:gd name="T10" fmla="*/ 0 60000 65536"/>
              <a:gd name="T11" fmla="*/ 0 60000 65536"/>
              <a:gd name="T12" fmla="*/ 0 w 111967"/>
              <a:gd name="T13" fmla="*/ 0 h 167951"/>
              <a:gd name="T14" fmla="*/ 111967 w 111967"/>
              <a:gd name="T15" fmla="*/ 167951 h 167951"/>
            </a:gdLst>
            <a:ahLst/>
            <a:cxnLst>
              <a:cxn ang="T8">
                <a:pos x="T0" y="T1"/>
              </a:cxn>
              <a:cxn ang="T9">
                <a:pos x="T2" y="T3"/>
              </a:cxn>
              <a:cxn ang="T10">
                <a:pos x="T4" y="T5"/>
              </a:cxn>
              <a:cxn ang="T11">
                <a:pos x="T6" y="T7"/>
              </a:cxn>
            </a:cxnLst>
            <a:rect l="T12" t="T13" r="T14" b="T15"/>
            <a:pathLst>
              <a:path w="111967" h="167951">
                <a:moveTo>
                  <a:pt x="0" y="0"/>
                </a:moveTo>
                <a:lnTo>
                  <a:pt x="111967" y="105747"/>
                </a:lnTo>
                <a:lnTo>
                  <a:pt x="31102" y="167951"/>
                </a:lnTo>
                <a:lnTo>
                  <a:pt x="0" y="0"/>
                </a:lnTo>
                <a:close/>
              </a:path>
            </a:pathLst>
          </a:custGeom>
          <a:solidFill>
            <a:srgbClr val="F0595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任意多边形 72"/>
          <p:cNvSpPr>
            <a:spLocks noChangeArrowheads="1"/>
          </p:cNvSpPr>
          <p:nvPr/>
        </p:nvSpPr>
        <p:spPr bwMode="auto">
          <a:xfrm>
            <a:off x="8496300" y="1928813"/>
            <a:ext cx="76200" cy="93662"/>
          </a:xfrm>
          <a:custGeom>
            <a:avLst/>
            <a:gdLst>
              <a:gd name="T0" fmla="*/ 68425 w 74645"/>
              <a:gd name="T1" fmla="*/ 0 h 93306"/>
              <a:gd name="T2" fmla="*/ 0 w 74645"/>
              <a:gd name="T3" fmla="*/ 43543 h 93306"/>
              <a:gd name="T4" fmla="*/ 74645 w 74645"/>
              <a:gd name="T5" fmla="*/ 93306 h 93306"/>
              <a:gd name="T6" fmla="*/ 68425 w 74645"/>
              <a:gd name="T7" fmla="*/ 0 h 93306"/>
              <a:gd name="T8" fmla="*/ 0 60000 65536"/>
              <a:gd name="T9" fmla="*/ 0 60000 65536"/>
              <a:gd name="T10" fmla="*/ 0 60000 65536"/>
              <a:gd name="T11" fmla="*/ 0 60000 65536"/>
              <a:gd name="T12" fmla="*/ 0 w 74645"/>
              <a:gd name="T13" fmla="*/ 0 h 93306"/>
              <a:gd name="T14" fmla="*/ 74645 w 74645"/>
              <a:gd name="T15" fmla="*/ 93306 h 93306"/>
            </a:gdLst>
            <a:ahLst/>
            <a:cxnLst>
              <a:cxn ang="T8">
                <a:pos x="T0" y="T1"/>
              </a:cxn>
              <a:cxn ang="T9">
                <a:pos x="T2" y="T3"/>
              </a:cxn>
              <a:cxn ang="T10">
                <a:pos x="T4" y="T5"/>
              </a:cxn>
              <a:cxn ang="T11">
                <a:pos x="T6" y="T7"/>
              </a:cxn>
            </a:cxnLst>
            <a:rect l="T12" t="T13" r="T14" b="T15"/>
            <a:pathLst>
              <a:path w="74645" h="93306">
                <a:moveTo>
                  <a:pt x="68425" y="0"/>
                </a:moveTo>
                <a:lnTo>
                  <a:pt x="0" y="43543"/>
                </a:lnTo>
                <a:lnTo>
                  <a:pt x="74645" y="93306"/>
                </a:lnTo>
                <a:lnTo>
                  <a:pt x="68425" y="0"/>
                </a:lnTo>
                <a:close/>
              </a:path>
            </a:pathLst>
          </a:custGeom>
          <a:solidFill>
            <a:srgbClr val="F5942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3" name="任意多边形 73"/>
          <p:cNvSpPr>
            <a:spLocks noChangeArrowheads="1"/>
          </p:cNvSpPr>
          <p:nvPr/>
        </p:nvSpPr>
        <p:spPr bwMode="auto">
          <a:xfrm rot="5189374">
            <a:off x="8954294" y="3880644"/>
            <a:ext cx="341312" cy="254000"/>
          </a:xfrm>
          <a:custGeom>
            <a:avLst/>
            <a:gdLst>
              <a:gd name="T0" fmla="*/ 161731 w 342123"/>
              <a:gd name="T1" fmla="*/ 0 h 255037"/>
              <a:gd name="T2" fmla="*/ 0 w 342123"/>
              <a:gd name="T3" fmla="*/ 255037 h 255037"/>
              <a:gd name="T4" fmla="*/ 342123 w 342123"/>
              <a:gd name="T5" fmla="*/ 80865 h 255037"/>
              <a:gd name="T6" fmla="*/ 161731 w 342123"/>
              <a:gd name="T7" fmla="*/ 0 h 255037"/>
              <a:gd name="T8" fmla="*/ 0 60000 65536"/>
              <a:gd name="T9" fmla="*/ 0 60000 65536"/>
              <a:gd name="T10" fmla="*/ 0 60000 65536"/>
              <a:gd name="T11" fmla="*/ 0 60000 65536"/>
              <a:gd name="T12" fmla="*/ 0 w 342123"/>
              <a:gd name="T13" fmla="*/ 0 h 255037"/>
              <a:gd name="T14" fmla="*/ 342123 w 342123"/>
              <a:gd name="T15" fmla="*/ 255037 h 255037"/>
            </a:gdLst>
            <a:ahLst/>
            <a:cxnLst>
              <a:cxn ang="T8">
                <a:pos x="T0" y="T1"/>
              </a:cxn>
              <a:cxn ang="T9">
                <a:pos x="T2" y="T3"/>
              </a:cxn>
              <a:cxn ang="T10">
                <a:pos x="T4" y="T5"/>
              </a:cxn>
              <a:cxn ang="T11">
                <a:pos x="T6" y="T7"/>
              </a:cxn>
            </a:cxnLst>
            <a:rect l="T12" t="T13" r="T14" b="T15"/>
            <a:pathLst>
              <a:path w="342123" h="255037">
                <a:moveTo>
                  <a:pt x="161731" y="0"/>
                </a:moveTo>
                <a:lnTo>
                  <a:pt x="0" y="255037"/>
                </a:lnTo>
                <a:lnTo>
                  <a:pt x="342123" y="80865"/>
                </a:lnTo>
                <a:lnTo>
                  <a:pt x="161731" y="0"/>
                </a:lnTo>
                <a:close/>
              </a:path>
            </a:pathLst>
          </a:custGeom>
          <a:solidFill>
            <a:srgbClr val="EA7A2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任意多边形 74"/>
          <p:cNvSpPr>
            <a:spLocks noChangeArrowheads="1"/>
          </p:cNvSpPr>
          <p:nvPr/>
        </p:nvSpPr>
        <p:spPr bwMode="auto">
          <a:xfrm rot="19199850">
            <a:off x="8023225" y="4589463"/>
            <a:ext cx="187325" cy="260350"/>
          </a:xfrm>
          <a:custGeom>
            <a:avLst/>
            <a:gdLst>
              <a:gd name="T0" fmla="*/ 186612 w 186612"/>
              <a:gd name="T1" fmla="*/ 242596 h 261257"/>
              <a:gd name="T2" fmla="*/ 105746 w 186612"/>
              <a:gd name="T3" fmla="*/ 0 h 261257"/>
              <a:gd name="T4" fmla="*/ 0 w 186612"/>
              <a:gd name="T5" fmla="*/ 261257 h 261257"/>
              <a:gd name="T6" fmla="*/ 186612 w 186612"/>
              <a:gd name="T7" fmla="*/ 242596 h 261257"/>
              <a:gd name="T8" fmla="*/ 0 60000 65536"/>
              <a:gd name="T9" fmla="*/ 0 60000 65536"/>
              <a:gd name="T10" fmla="*/ 0 60000 65536"/>
              <a:gd name="T11" fmla="*/ 0 60000 65536"/>
              <a:gd name="T12" fmla="*/ 0 w 186612"/>
              <a:gd name="T13" fmla="*/ 0 h 261257"/>
              <a:gd name="T14" fmla="*/ 186612 w 186612"/>
              <a:gd name="T15" fmla="*/ 261257 h 261257"/>
            </a:gdLst>
            <a:ahLst/>
            <a:cxnLst>
              <a:cxn ang="T8">
                <a:pos x="T0" y="T1"/>
              </a:cxn>
              <a:cxn ang="T9">
                <a:pos x="T2" y="T3"/>
              </a:cxn>
              <a:cxn ang="T10">
                <a:pos x="T4" y="T5"/>
              </a:cxn>
              <a:cxn ang="T11">
                <a:pos x="T6" y="T7"/>
              </a:cxn>
            </a:cxnLst>
            <a:rect l="T12" t="T13" r="T14" b="T15"/>
            <a:pathLst>
              <a:path w="186612" h="261257">
                <a:moveTo>
                  <a:pt x="186612" y="242596"/>
                </a:moveTo>
                <a:lnTo>
                  <a:pt x="105746" y="0"/>
                </a:lnTo>
                <a:lnTo>
                  <a:pt x="0" y="261257"/>
                </a:lnTo>
                <a:lnTo>
                  <a:pt x="186612" y="242596"/>
                </a:lnTo>
                <a:close/>
              </a:path>
            </a:pathLst>
          </a:custGeom>
          <a:solidFill>
            <a:srgbClr val="F05A5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内容占位符 5"/>
          <p:cNvSpPr>
            <a:spLocks noGrp="1"/>
          </p:cNvSpPr>
          <p:nvPr>
            <p:ph idx="1"/>
          </p:nvPr>
        </p:nvSpPr>
        <p:spPr/>
        <p:txBody>
          <a:bodyPr/>
          <a:p>
            <a:endParaRPr lang="zh-CN" altLang="en-US"/>
          </a:p>
        </p:txBody>
      </p:sp>
      <p:grpSp>
        <p:nvGrpSpPr>
          <p:cNvPr id="75" name="组合 74"/>
          <p:cNvGrpSpPr/>
          <p:nvPr/>
        </p:nvGrpSpPr>
        <p:grpSpPr>
          <a:xfrm>
            <a:off x="619688" y="2276246"/>
            <a:ext cx="1335946" cy="1335946"/>
            <a:chOff x="304800" y="673100"/>
            <a:chExt cx="4000500" cy="4000500"/>
          </a:xfrm>
          <a:effectLst>
            <a:outerShdw blurRad="444500" dist="254000" dir="8100000" algn="tr" rotWithShape="0">
              <a:prstClr val="black">
                <a:alpha val="50000"/>
              </a:prstClr>
            </a:outerShdw>
          </a:effectLst>
        </p:grpSpPr>
        <p:sp>
          <p:nvSpPr>
            <p:cNvPr id="76" name="同心圆 75"/>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77" name="椭圆 76"/>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企业</a:t>
              </a:r>
              <a:endParaRPr lang="en-US" altLang="zh-CN" dirty="0" smtClean="0">
                <a:solidFill>
                  <a:srgbClr val="03A9F3"/>
                </a:solidFill>
                <a:latin typeface="Arial" panose="020B0604020202020204" pitchFamily="34" charset="0"/>
                <a:ea typeface="微软雅黑" panose="020B0503020204020204" pitchFamily="34" charset="-122"/>
                <a:sym typeface="Arial" panose="020B0604020202020204" pitchFamily="34" charset="0"/>
              </a:endParaRPr>
            </a:p>
            <a:p>
              <a:pPr algn="ctr"/>
              <a:r>
                <a:rPr lang="zh-CN" altLang="en-US" dirty="0" smtClean="0">
                  <a:solidFill>
                    <a:srgbClr val="03A9F3"/>
                  </a:solidFill>
                  <a:latin typeface="Arial" panose="020B0604020202020204" pitchFamily="34" charset="0"/>
                  <a:ea typeface="微软雅黑" panose="020B0503020204020204" pitchFamily="34" charset="-122"/>
                  <a:sym typeface="Arial" panose="020B0604020202020204" pitchFamily="34" charset="0"/>
                </a:rPr>
                <a:t>理论</a:t>
              </a:r>
              <a:endParaRPr lang="zh-CN" altLang="en-US"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8" name="椭圆 77"/>
          <p:cNvSpPr/>
          <p:nvPr/>
        </p:nvSpPr>
        <p:spPr>
          <a:xfrm>
            <a:off x="2706448" y="1163553"/>
            <a:ext cx="832135" cy="855747"/>
          </a:xfrm>
          <a:prstGeom prst="ellipse">
            <a:avLst/>
          </a:prstGeom>
          <a:solidFill>
            <a:srgbClr val="0067B0"/>
          </a:solidFill>
          <a:ln>
            <a:noFill/>
          </a:ln>
          <a:effectLst>
            <a:outerShdw blurRad="317500" dist="1905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nvGrpSpPr>
          <p:cNvPr id="83" name="组合 82"/>
          <p:cNvGrpSpPr/>
          <p:nvPr/>
        </p:nvGrpSpPr>
        <p:grpSpPr>
          <a:xfrm>
            <a:off x="2727183" y="2497084"/>
            <a:ext cx="811400" cy="811400"/>
            <a:chOff x="304800" y="673100"/>
            <a:chExt cx="4000500" cy="4000500"/>
          </a:xfrm>
          <a:effectLst>
            <a:outerShdw blurRad="317500" dist="190500" dir="8100000" algn="tr" rotWithShape="0">
              <a:prstClr val="black">
                <a:alpha val="50000"/>
              </a:prstClr>
            </a:outerShdw>
          </a:effectLst>
        </p:grpSpPr>
        <p:sp>
          <p:nvSpPr>
            <p:cNvPr id="84" name="同心圆 83"/>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85" name="椭圆 84"/>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2" name="左大括号 1"/>
          <p:cNvSpPr/>
          <p:nvPr/>
        </p:nvSpPr>
        <p:spPr>
          <a:xfrm>
            <a:off x="2070395" y="1462863"/>
            <a:ext cx="370707" cy="2934157"/>
          </a:xfrm>
          <a:prstGeom prst="leftBrace">
            <a:avLst/>
          </a:prstGeom>
          <a:ln w="38100">
            <a:solidFill>
              <a:schemeClr val="bg1">
                <a:lumMod val="50000"/>
              </a:schemeClr>
            </a:solidFill>
          </a:ln>
          <a:effectLst>
            <a:outerShdw blurRad="139700" dist="63500" dir="8100000" sx="98000" sy="98000" algn="tr" rotWithShape="0">
              <a:prstClr val="black">
                <a:alpha val="5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39" name="椭圆 38"/>
          <p:cNvSpPr/>
          <p:nvPr/>
        </p:nvSpPr>
        <p:spPr>
          <a:xfrm>
            <a:off x="2766118" y="3994188"/>
            <a:ext cx="772465" cy="777913"/>
          </a:xfrm>
          <a:prstGeom prst="ellipse">
            <a:avLst/>
          </a:prstGeom>
          <a:solidFill>
            <a:srgbClr val="0067B0"/>
          </a:solidFill>
          <a:ln>
            <a:noFill/>
          </a:ln>
          <a:effectLst>
            <a:outerShdw blurRad="317500" dist="190500" dir="8100000" algn="t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3" name="TextBox 2"/>
          <p:cNvSpPr txBox="1"/>
          <p:nvPr/>
        </p:nvSpPr>
        <p:spPr>
          <a:xfrm>
            <a:off x="2754708" y="1306847"/>
            <a:ext cx="809275" cy="583565"/>
          </a:xfrm>
          <a:prstGeom prst="rect">
            <a:avLst/>
          </a:prstGeom>
          <a:noFill/>
        </p:spPr>
        <p:txBody>
          <a:bodyPr wrap="square" rtlCol="0">
            <a:spAutoFit/>
          </a:bodyPr>
          <a:lstStyle/>
          <a:p>
            <a:r>
              <a:rPr lang="zh-CN" altLang="en-US" sz="16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新</a:t>
            </a:r>
            <a:r>
              <a:rPr lang="zh-CN" altLang="en-US" sz="1600" dirty="0">
                <a:solidFill>
                  <a:schemeClr val="bg1"/>
                </a:solidFill>
                <a:latin typeface="Arial" panose="020B0604020202020204" pitchFamily="34" charset="0"/>
                <a:ea typeface="微软雅黑" panose="020B0503020204020204" pitchFamily="34" charset="-122"/>
                <a:sym typeface="Arial" panose="020B0604020202020204" pitchFamily="34" charset="0"/>
              </a:rPr>
              <a:t>古典经济学</a:t>
            </a:r>
            <a:endParaRPr lang="zh-CN" altLang="en-US" sz="16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1" name="TextBox 40"/>
          <p:cNvSpPr txBox="1"/>
          <p:nvPr/>
        </p:nvSpPr>
        <p:spPr>
          <a:xfrm>
            <a:off x="2719496" y="2644607"/>
            <a:ext cx="844487" cy="583565"/>
          </a:xfrm>
          <a:prstGeom prst="rect">
            <a:avLst/>
          </a:prstGeom>
          <a:noFill/>
        </p:spPr>
        <p:txBody>
          <a:bodyPr wrap="square" rtlCol="0">
            <a:spAutoFit/>
          </a:bodyPr>
          <a:lstStyle/>
          <a:p>
            <a:r>
              <a:rPr lang="zh-CN" altLang="en-US" sz="1600" dirty="0">
                <a:solidFill>
                  <a:srgbClr val="03A9F3"/>
                </a:solidFill>
                <a:latin typeface="Arial" panose="020B0604020202020204" pitchFamily="34" charset="0"/>
                <a:ea typeface="微软雅黑" panose="020B0503020204020204" pitchFamily="34" charset="-122"/>
                <a:sym typeface="Arial" panose="020B0604020202020204" pitchFamily="34" charset="0"/>
              </a:rPr>
              <a:t>新制度经济学</a:t>
            </a:r>
            <a:endParaRPr lang="zh-CN" altLang="en-US" sz="1600" dirty="0">
              <a:solidFill>
                <a:srgbClr val="03A9F3"/>
              </a:solidFill>
              <a:latin typeface="Arial" panose="020B0604020202020204" pitchFamily="34" charset="0"/>
              <a:ea typeface="微软雅黑" panose="020B0503020204020204" pitchFamily="34" charset="-122"/>
              <a:sym typeface="Arial" panose="020B0604020202020204" pitchFamily="34" charset="0"/>
            </a:endParaRPr>
          </a:p>
        </p:txBody>
      </p:sp>
      <p:sp>
        <p:nvSpPr>
          <p:cNvPr id="45" name="TextBox 44"/>
          <p:cNvSpPr txBox="1"/>
          <p:nvPr/>
        </p:nvSpPr>
        <p:spPr>
          <a:xfrm>
            <a:off x="2747166" y="4113443"/>
            <a:ext cx="885034" cy="583565"/>
          </a:xfrm>
          <a:prstGeom prst="rect">
            <a:avLst/>
          </a:prstGeom>
          <a:noFill/>
        </p:spPr>
        <p:txBody>
          <a:bodyPr wrap="square" rtlCol="0">
            <a:spAutoFit/>
          </a:bodyPr>
          <a:lstStyle/>
          <a:p>
            <a:r>
              <a:rPr lang="zh-CN" altLang="en-US" sz="1600" dirty="0">
                <a:solidFill>
                  <a:schemeClr val="bg1"/>
                </a:solidFill>
                <a:latin typeface="Arial" panose="020B0604020202020204" pitchFamily="34" charset="0"/>
                <a:ea typeface="微软雅黑" panose="020B0503020204020204" pitchFamily="34" charset="-122"/>
                <a:sym typeface="Arial" panose="020B0604020202020204" pitchFamily="34" charset="0"/>
              </a:rPr>
              <a:t>演化经济学</a:t>
            </a:r>
            <a:endParaRPr lang="zh-CN" altLang="en-US" sz="16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 name="TextBox 3"/>
          <p:cNvSpPr txBox="1"/>
          <p:nvPr/>
        </p:nvSpPr>
        <p:spPr>
          <a:xfrm>
            <a:off x="3758008" y="1254559"/>
            <a:ext cx="4814492" cy="829945"/>
          </a:xfrm>
          <a:prstGeom prst="rect">
            <a:avLst/>
          </a:prstGeom>
          <a:noFill/>
        </p:spPr>
        <p:txBody>
          <a:bodyPr wrap="square" rtlCol="0">
            <a:spAutoFit/>
          </a:bodyPr>
          <a:lstStyle/>
          <a:p>
            <a:pPr>
              <a:buFont typeface="Wingdings" panose="05000000000000000000" pitchFamily="2" charset="2"/>
              <a:buChar char="l"/>
            </a:pP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企业看作为一个将投入变为产出的“黑箱”，认为企业是一种生产函数，其功能就是实现边际收入与边际成本相等，因而企业就是一个谋求利润最大化的经济</a:t>
            </a:r>
            <a:r>
              <a:rPr lang="zh-CN" altLang="en-US"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单元</a:t>
            </a:r>
            <a:endParaRPr lang="en-US" altLang="zh-CN"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a:p>
            <a:pPr>
              <a:buFont typeface="Wingdings" panose="05000000000000000000" pitchFamily="2" charset="2"/>
              <a:buChar char="l"/>
            </a:pPr>
            <a:r>
              <a:rPr lang="zh-CN" altLang="en-US"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经济人”视角</a:t>
            </a:r>
            <a:endParaRPr lang="zh-CN" altLang="en-US" sz="20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7" name="TextBox 46"/>
          <p:cNvSpPr txBox="1"/>
          <p:nvPr/>
        </p:nvSpPr>
        <p:spPr>
          <a:xfrm>
            <a:off x="3758008" y="2311802"/>
            <a:ext cx="4814492" cy="1383665"/>
          </a:xfrm>
          <a:prstGeom prst="rect">
            <a:avLst/>
          </a:prstGeom>
          <a:noFill/>
        </p:spPr>
        <p:txBody>
          <a:bodyPr wrap="square" rtlCol="0">
            <a:spAutoFit/>
          </a:bodyPr>
          <a:lstStyle/>
          <a:p>
            <a:pPr>
              <a:buFont typeface="Wingdings" panose="05000000000000000000" pitchFamily="2" charset="2"/>
              <a:buChar char="l"/>
            </a:pP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罗纳德</a:t>
            </a:r>
            <a:r>
              <a:rPr lang="en-US" altLang="zh-CN"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a:t>
            </a:r>
            <a:r>
              <a:rPr lang="zh-CN" altLang="en-US"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科斯</a:t>
            </a:r>
            <a:r>
              <a:rPr lang="en-US" altLang="zh-CN"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a:t>
            </a:r>
            <a:r>
              <a:rPr lang="zh-CN" altLang="en-US"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交易</a:t>
            </a: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成本理论的企业</a:t>
            </a:r>
            <a:r>
              <a:rPr lang="zh-CN" altLang="en-US"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观：企业</a:t>
            </a: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抽象为某个权威</a:t>
            </a:r>
            <a:r>
              <a:rPr lang="zh-CN" altLang="en-US"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企业家</a:t>
            </a: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以行政命令进行资源配置的方式</a:t>
            </a:r>
            <a:r>
              <a:rPr lang="zh-CN" altLang="en-US"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市场和企业为</a:t>
            </a: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可以相互替代的资源配置方式</a:t>
            </a:r>
            <a:r>
              <a:rPr lang="zh-CN" altLang="en-US"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两种</a:t>
            </a: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资源配置方式都会产生交易成本，</a:t>
            </a:r>
            <a:r>
              <a:rPr lang="zh-CN" altLang="en-US"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企业出现</a:t>
            </a: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是因为它可以节省市场交易</a:t>
            </a:r>
            <a:r>
              <a:rPr lang="zh-CN" altLang="en-US"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费用</a:t>
            </a:r>
            <a:endParaRPr lang="en-US" altLang="zh-CN"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a:p>
            <a:pPr>
              <a:buFont typeface="Wingdings" panose="05000000000000000000" pitchFamily="2" charset="2"/>
              <a:buChar char="l"/>
            </a:pP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委托代理理论：委托代理理论所要解决的问题就是在现代公司制“所有权和经营权”相分离、不同经济主体信息分布不对称的形势下，委托人如何通过契约设计实现对代理人的控制和激励</a:t>
            </a:r>
            <a:endPar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TextBox 47"/>
          <p:cNvSpPr txBox="1"/>
          <p:nvPr/>
        </p:nvSpPr>
        <p:spPr>
          <a:xfrm>
            <a:off x="3748196" y="3831438"/>
            <a:ext cx="4824304" cy="1198880"/>
          </a:xfrm>
          <a:prstGeom prst="rect">
            <a:avLst/>
          </a:prstGeom>
          <a:noFill/>
        </p:spPr>
        <p:txBody>
          <a:bodyPr wrap="square" rtlCol="0">
            <a:spAutoFit/>
          </a:bodyPr>
          <a:lstStyle/>
          <a:p>
            <a:pPr>
              <a:buFont typeface="Wingdings" panose="05000000000000000000" pitchFamily="2" charset="2"/>
              <a:buChar char="l"/>
            </a:pP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基于演化经济学思维的企业理论从企业能力、知识和竞争力角度研究与定义</a:t>
            </a:r>
            <a:r>
              <a:rPr lang="zh-CN" altLang="en-US"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企业，</a:t>
            </a:r>
            <a:r>
              <a:rPr lang="zh-CN" altLang="en-US" sz="12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侧重对企业本质、边界做出界定，并对企业竞争优势的来源进行了全新的解释。知识与能力等是企业存在、运行以及发挥其“生产功能”的基础，企业是具有一定能力（独特的知识、难以模仿的能力与经验）的集合，作为知识整合组织而存在，企业的竞争优势以内部资源能力为</a:t>
            </a:r>
            <a:r>
              <a:rPr lang="zh-CN" altLang="en-US" sz="1200" dirty="0" smtClean="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rPr>
              <a:t>基础</a:t>
            </a:r>
            <a:endParaRPr lang="zh-CN" altLang="en-US" sz="2000" dirty="0">
              <a:solidFill>
                <a:schemeClr val="tx1">
                  <a:lumMod val="85000"/>
                  <a:lumOff val="1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35" name="图片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 name="标题 4"/>
          <p:cNvSpPr>
            <a:spLocks noGrp="1"/>
          </p:cNvSpPr>
          <p:nvPr>
            <p:ph type="title"/>
          </p:nvPr>
        </p:nvSpPr>
        <p:spPr>
          <a:xfrm>
            <a:off x="729615" y="205740"/>
            <a:ext cx="2345055" cy="293370"/>
          </a:xfrm>
        </p:spPr>
        <p:txBody>
          <a:bodyPr>
            <a:noAutofit/>
          </a:bodyPr>
          <a:p>
            <a:r>
              <a:rPr lang="zh-CN" altLang="en-US" sz="20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企业的性质</a:t>
            </a:r>
            <a:endParaRPr lang="zh-CN" altLang="en-US" sz="20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p>
            <a:endParaRPr lang="zh-CN" altLang="en-US"/>
          </a:p>
        </p:txBody>
      </p:sp>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35" name="图片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TextBox 27"/>
          <p:cNvSpPr txBox="1"/>
          <p:nvPr/>
        </p:nvSpPr>
        <p:spPr>
          <a:xfrm>
            <a:off x="281268" y="1333321"/>
            <a:ext cx="7884832" cy="1599565"/>
          </a:xfrm>
          <a:prstGeom prst="rect">
            <a:avLst/>
          </a:prstGeom>
          <a:noFill/>
        </p:spPr>
        <p:txBody>
          <a:bodyPr wrap="square" rtlCol="0">
            <a:spAutoFit/>
          </a:bodyPr>
          <a:lstStyle/>
          <a:p>
            <a:pPr>
              <a:buFont typeface="Wingdings" panose="05000000000000000000" pitchFamily="2" charset="2"/>
              <a:buChar char="l"/>
            </a:pPr>
            <a:r>
              <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20</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世纪</a:t>
            </a:r>
            <a:r>
              <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60</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年代至</a:t>
            </a:r>
            <a:r>
              <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70</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年代，新古典主义经济学将企业看成是一个投入</a:t>
            </a:r>
            <a:r>
              <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产出转换的“黑箱”的思想受到了猛烈的批判，进而涌现出以交易费用、委托代理关系、不完全契约、信息不对称等概念为核心的研究成果，形成了主流企业</a:t>
            </a: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理论</a:t>
            </a:r>
            <a:endParaRPr lang="en-US" altLang="zh-CN"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a:buFont typeface="Wingdings" panose="05000000000000000000" pitchFamily="2" charset="2"/>
              <a:buChar char="l"/>
            </a:pP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然而，各种主流企业理论并没有充足的理由证明，企业的所有权</a:t>
            </a:r>
            <a:r>
              <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以企业的剩余索取权和剩余控制权来表示</a:t>
            </a:r>
            <a:r>
              <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应该全部归企业的股东所有，而且他们提出的“股东至上”和“资本雇佣劳动”的命题也存在诸多缺陷。因此，“股东至上”理论受到强烈挑战，利益相关者理论就是在这样的背景下发展</a:t>
            </a: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起来</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p:txBody>
      </p:sp>
      <p:sp>
        <p:nvSpPr>
          <p:cNvPr id="29" name="TextBox 28"/>
          <p:cNvSpPr txBox="1"/>
          <p:nvPr/>
        </p:nvSpPr>
        <p:spPr>
          <a:xfrm>
            <a:off x="281268" y="963989"/>
            <a:ext cx="1097280" cy="368300"/>
          </a:xfrm>
          <a:prstGeom prst="rect">
            <a:avLst/>
          </a:prstGeom>
          <a:noFill/>
        </p:spPr>
        <p:txBody>
          <a:bodyPr wrap="none" rtlCol="0">
            <a:spAutoFit/>
          </a:bodyPr>
          <a:lstStyle/>
          <a:p>
            <a:r>
              <a:rPr lang="zh-CN" altLang="en-US"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理论背景</a:t>
            </a:r>
            <a:endPar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TextBox 29"/>
          <p:cNvSpPr txBox="1"/>
          <p:nvPr/>
        </p:nvSpPr>
        <p:spPr>
          <a:xfrm>
            <a:off x="281268" y="3328550"/>
            <a:ext cx="7884832" cy="1383665"/>
          </a:xfrm>
          <a:prstGeom prst="rect">
            <a:avLst/>
          </a:prstGeom>
          <a:noFill/>
        </p:spPr>
        <p:txBody>
          <a:bodyPr wrap="square" rtlCol="0">
            <a:spAutoFit/>
          </a:bodyPr>
          <a:lstStyle/>
          <a:p>
            <a:pPr>
              <a:buFont typeface="Wingdings" panose="05000000000000000000" pitchFamily="2" charset="2"/>
              <a:buChar char="l"/>
            </a:pPr>
            <a:r>
              <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20</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世纪</a:t>
            </a:r>
            <a:r>
              <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70</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年代以后，企业所面临的环境日趋复杂，企业在其经营活动中必须花费更多的精力来处理企业伦理问题、企业社会责任问题、环境管理问题等，而这些问题都与企业经营时是否考虑利益相关者的利益要求密切相关</a:t>
            </a:r>
            <a:r>
              <a:rPr lang="zh-CN" altLang="en-US"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a:t>
            </a:r>
            <a:endParaRPr lang="en-US" altLang="zh-CN" sz="14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a:buFont typeface="Wingdings" panose="05000000000000000000" pitchFamily="2" charset="2"/>
              <a:buChar char="l"/>
            </a:pPr>
            <a:r>
              <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20</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世纪</a:t>
            </a:r>
            <a:r>
              <a:rPr lang="en-US" altLang="zh-CN"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60</a:t>
            </a:r>
            <a:r>
              <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年代末期以后，在现实经济中企业奉行“股东至上主义”的英美等国经济遇到了前所未有的困难，而企业经营更多体现“利益相关者理论”思想的德国、日本以及许多东南亚国家和地区经济却迅速崛起。</a:t>
            </a:r>
            <a:endParaRPr lang="zh-CN" altLang="en-US" sz="14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p:txBody>
      </p:sp>
      <p:sp>
        <p:nvSpPr>
          <p:cNvPr id="31" name="TextBox 30"/>
          <p:cNvSpPr txBox="1"/>
          <p:nvPr/>
        </p:nvSpPr>
        <p:spPr>
          <a:xfrm>
            <a:off x="281268" y="2959218"/>
            <a:ext cx="1097280" cy="368300"/>
          </a:xfrm>
          <a:prstGeom prst="rect">
            <a:avLst/>
          </a:prstGeom>
          <a:noFill/>
        </p:spPr>
        <p:txBody>
          <a:bodyPr wrap="none" rtlCol="0">
            <a:spAutoFit/>
          </a:bodyPr>
          <a:lstStyle/>
          <a:p>
            <a:r>
              <a:rPr lang="zh-CN" altLang="en-US"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实践背景</a:t>
            </a:r>
            <a:endPar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799465" y="143510"/>
            <a:ext cx="2181225" cy="383540"/>
          </a:xfrm>
        </p:spPr>
        <p:txBody>
          <a:bodyPr>
            <a:noAutofit/>
          </a:bodyPr>
          <a:p>
            <a:r>
              <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利益相关者理论</a:t>
            </a:r>
            <a:endPar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normAutofit fontScale="50000"/>
          </a:bodyPr>
          <a:p>
            <a:r>
              <a:rPr lang="zh-CN" altLang="en-US" b="1"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利益相关者理论的核心问题</a:t>
            </a:r>
            <a:endParaRPr lang="zh-CN" altLang="en-US" b="1"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a:p>
            <a:pPr>
              <a:lnSpc>
                <a:spcPct val="120000"/>
              </a:lnSpc>
            </a:pP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1</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公司的利益相关者到底是哪些</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他们与公司之间存在什么利害关系</a:t>
            </a:r>
            <a:r>
              <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nSpc>
                <a:spcPct val="120000"/>
              </a:lnSpc>
            </a:pP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nSpc>
                <a:spcPct val="120000"/>
              </a:lnSpc>
            </a:pP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2</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公司为什么要考虑这些利益相关者的利益</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或者说，在公司战略目标中容纳这些利益相关者的基础是什么</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nSpc>
                <a:spcPct val="120000"/>
              </a:lnSpc>
            </a:pP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nSpc>
                <a:spcPct val="120000"/>
              </a:lnSpc>
            </a:pP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3</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如果应该考虑利益相关者的利益，那么实践中应该通过何种机制实现这一目标</a:t>
            </a: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nSpc>
                <a:spcPct val="120000"/>
              </a:lnSpc>
            </a:pPr>
            <a:endParaRPr lang="en-US" altLang="zh-CN"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nSpc>
                <a:spcPct val="120000"/>
              </a:lnSpc>
            </a:pPr>
            <a:r>
              <a:rPr lang="zh-CN" altLang="en-US"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4</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这种对利益相关者利益的实现机制对公司绩效而言是否是有效率的</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是否符合公司长期价值最大化的目标？如果没有效率，应该如何改进</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endParaRPr lang="zh-CN" altLang="en-US"/>
          </a:p>
        </p:txBody>
      </p:sp>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35" name="图片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872490" y="95885"/>
            <a:ext cx="2207260" cy="460375"/>
          </a:xfrm>
        </p:spPr>
        <p:txBody>
          <a:bodyPr>
            <a:noAutofit/>
          </a:bodyPr>
          <a:p>
            <a:r>
              <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利益相关者理论</a:t>
            </a:r>
            <a:endParaRPr lang="zh-CN" altLang="en-US" sz="18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p>
            <a:endParaRPr lang="zh-CN" altLang="en-US"/>
          </a:p>
        </p:txBody>
      </p:sp>
      <p:grpSp>
        <p:nvGrpSpPr>
          <p:cNvPr id="4" name="组合 3"/>
          <p:cNvGrpSpPr/>
          <p:nvPr/>
        </p:nvGrpSpPr>
        <p:grpSpPr bwMode="auto">
          <a:xfrm>
            <a:off x="3208150" y="1080309"/>
            <a:ext cx="2681684" cy="681038"/>
            <a:chOff x="0" y="0"/>
            <a:chExt cx="2636520" cy="1447800"/>
          </a:xfrm>
        </p:grpSpPr>
        <p:sp>
          <p:nvSpPr>
            <p:cNvPr id="5" name="任意多边形 4"/>
            <p:cNvSpPr>
              <a:spLocks noChangeArrowheads="1"/>
            </p:cNvSpPr>
            <p:nvPr/>
          </p:nvSpPr>
          <p:spPr bwMode="auto">
            <a:xfrm>
              <a:off x="0" y="0"/>
              <a:ext cx="2636520" cy="1447800"/>
            </a:xfrm>
            <a:custGeom>
              <a:avLst/>
              <a:gdLst>
                <a:gd name="T0" fmla="*/ 0 w 2636520"/>
                <a:gd name="T1" fmla="*/ 0 h 1447800"/>
                <a:gd name="T2" fmla="*/ 2103122 w 2636520"/>
                <a:gd name="T3" fmla="*/ 0 h 1447800"/>
                <a:gd name="T4" fmla="*/ 2636520 w 2636520"/>
                <a:gd name="T5" fmla="*/ 723900 h 1447800"/>
                <a:gd name="T6" fmla="*/ 2103122 w 2636520"/>
                <a:gd name="T7" fmla="*/ 1447800 h 1447800"/>
                <a:gd name="T8" fmla="*/ 0 w 2636520"/>
                <a:gd name="T9" fmla="*/ 1447800 h 1447800"/>
                <a:gd name="T10" fmla="*/ 0 w 2636520"/>
                <a:gd name="T11" fmla="*/ 1442632 h 1447800"/>
                <a:gd name="T12" fmla="*/ 529590 w 2636520"/>
                <a:gd name="T13" fmla="*/ 723900 h 1447800"/>
                <a:gd name="T14" fmla="*/ 0 w 2636520"/>
                <a:gd name="T15" fmla="*/ 5168 h 1447800"/>
                <a:gd name="T16" fmla="*/ 0 60000 65536"/>
                <a:gd name="T17" fmla="*/ 0 60000 65536"/>
                <a:gd name="T18" fmla="*/ 0 60000 65536"/>
                <a:gd name="T19" fmla="*/ 0 60000 65536"/>
                <a:gd name="T20" fmla="*/ 0 60000 65536"/>
                <a:gd name="T21" fmla="*/ 0 60000 65536"/>
                <a:gd name="T22" fmla="*/ 0 60000 65536"/>
                <a:gd name="T23" fmla="*/ 0 60000 65536"/>
                <a:gd name="T24" fmla="*/ 0 w 2636520"/>
                <a:gd name="T25" fmla="*/ 0 h 1447800"/>
                <a:gd name="T26" fmla="*/ 2636520 w 2636520"/>
                <a:gd name="T27" fmla="*/ 1447800 h 14478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6520" h="1447800">
                  <a:moveTo>
                    <a:pt x="0" y="0"/>
                  </a:moveTo>
                  <a:lnTo>
                    <a:pt x="2103122" y="0"/>
                  </a:lnTo>
                  <a:lnTo>
                    <a:pt x="2636520" y="723900"/>
                  </a:lnTo>
                  <a:lnTo>
                    <a:pt x="2103122" y="1447800"/>
                  </a:lnTo>
                  <a:lnTo>
                    <a:pt x="0" y="1447800"/>
                  </a:lnTo>
                  <a:lnTo>
                    <a:pt x="0" y="1442632"/>
                  </a:lnTo>
                  <a:lnTo>
                    <a:pt x="529590" y="723900"/>
                  </a:lnTo>
                  <a:lnTo>
                    <a:pt x="0" y="5168"/>
                  </a:lnTo>
                  <a:lnTo>
                    <a:pt x="0" y="0"/>
                  </a:lnTo>
                  <a:close/>
                </a:path>
              </a:pathLst>
            </a:custGeom>
            <a:solidFill>
              <a:schemeClr val="tx1">
                <a:lumMod val="65000"/>
                <a:lumOff val="35000"/>
                <a:alpha val="39999"/>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12700">
                  <a:solidFill>
                    <a:srgbClr val="42719B"/>
                  </a:solidFill>
                  <a:bevel/>
                </a14:hiddenLine>
              </a:ext>
            </a:extLst>
          </p:spPr>
          <p:txBody>
            <a:bodyPr anchor="ctr"/>
            <a:lstStyle/>
            <a:p>
              <a:endParaRPr lang="zh-CN" altLang="en-US" b="1" dirty="0">
                <a:latin typeface="Arial" panose="020B0604020202020204" pitchFamily="34" charset="0"/>
                <a:ea typeface="微软雅黑" panose="020B0503020204020204" pitchFamily="34" charset="-122"/>
                <a:sym typeface="Arial" panose="020B0604020202020204" pitchFamily="34" charset="0"/>
              </a:endParaRPr>
            </a:p>
          </p:txBody>
        </p:sp>
        <p:sp>
          <p:nvSpPr>
            <p:cNvPr id="6" name="文本框 24"/>
            <p:cNvSpPr>
              <a:spLocks noChangeArrowheads="1"/>
            </p:cNvSpPr>
            <p:nvPr/>
          </p:nvSpPr>
          <p:spPr bwMode="auto">
            <a:xfrm>
              <a:off x="304995" y="380399"/>
              <a:ext cx="2230360" cy="687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zh-CN" altLang="en-US" sz="1500" b="1" dirty="0">
                  <a:solidFill>
                    <a:schemeClr val="bg1"/>
                  </a:solidFill>
                  <a:latin typeface="Arial" panose="020B0604020202020204" pitchFamily="34" charset="0"/>
                  <a:ea typeface="微软雅黑" panose="020B0503020204020204" pitchFamily="34" charset="-122"/>
                  <a:sym typeface="Arial" panose="020B0604020202020204" pitchFamily="34" charset="0"/>
                </a:rPr>
                <a:t>战略管理观</a:t>
              </a:r>
              <a:endParaRPr lang="zh-CN" altLang="en-US" sz="1500" b="1" baseline="-30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 name="组合 2"/>
          <p:cNvGrpSpPr/>
          <p:nvPr/>
        </p:nvGrpSpPr>
        <p:grpSpPr bwMode="auto">
          <a:xfrm>
            <a:off x="983269" y="1080309"/>
            <a:ext cx="2681684" cy="681038"/>
            <a:chOff x="0" y="0"/>
            <a:chExt cx="2636520" cy="1447800"/>
          </a:xfrm>
        </p:grpSpPr>
        <p:sp>
          <p:nvSpPr>
            <p:cNvPr id="8" name="任意多边形 4"/>
            <p:cNvSpPr>
              <a:spLocks noChangeArrowheads="1"/>
            </p:cNvSpPr>
            <p:nvPr/>
          </p:nvSpPr>
          <p:spPr bwMode="auto">
            <a:xfrm>
              <a:off x="0" y="0"/>
              <a:ext cx="2636520" cy="1447800"/>
            </a:xfrm>
            <a:custGeom>
              <a:avLst/>
              <a:gdLst>
                <a:gd name="T0" fmla="*/ 0 w 2636520"/>
                <a:gd name="T1" fmla="*/ 0 h 1447800"/>
                <a:gd name="T2" fmla="*/ 2103122 w 2636520"/>
                <a:gd name="T3" fmla="*/ 0 h 1447800"/>
                <a:gd name="T4" fmla="*/ 2636520 w 2636520"/>
                <a:gd name="T5" fmla="*/ 723900 h 1447800"/>
                <a:gd name="T6" fmla="*/ 2103122 w 2636520"/>
                <a:gd name="T7" fmla="*/ 1447800 h 1447800"/>
                <a:gd name="T8" fmla="*/ 0 w 2636520"/>
                <a:gd name="T9" fmla="*/ 1447800 h 1447800"/>
                <a:gd name="T10" fmla="*/ 0 w 2636520"/>
                <a:gd name="T11" fmla="*/ 1442632 h 1447800"/>
                <a:gd name="T12" fmla="*/ 529590 w 2636520"/>
                <a:gd name="T13" fmla="*/ 723900 h 1447800"/>
                <a:gd name="T14" fmla="*/ 0 w 2636520"/>
                <a:gd name="T15" fmla="*/ 5168 h 1447800"/>
                <a:gd name="T16" fmla="*/ 0 60000 65536"/>
                <a:gd name="T17" fmla="*/ 0 60000 65536"/>
                <a:gd name="T18" fmla="*/ 0 60000 65536"/>
                <a:gd name="T19" fmla="*/ 0 60000 65536"/>
                <a:gd name="T20" fmla="*/ 0 60000 65536"/>
                <a:gd name="T21" fmla="*/ 0 60000 65536"/>
                <a:gd name="T22" fmla="*/ 0 60000 65536"/>
                <a:gd name="T23" fmla="*/ 0 60000 65536"/>
                <a:gd name="T24" fmla="*/ 0 w 2636520"/>
                <a:gd name="T25" fmla="*/ 0 h 1447800"/>
                <a:gd name="T26" fmla="*/ 2636520 w 2636520"/>
                <a:gd name="T27" fmla="*/ 1447800 h 14478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6520" h="1447800">
                  <a:moveTo>
                    <a:pt x="0" y="0"/>
                  </a:moveTo>
                  <a:lnTo>
                    <a:pt x="2103122" y="0"/>
                  </a:lnTo>
                  <a:lnTo>
                    <a:pt x="2636520" y="723900"/>
                  </a:lnTo>
                  <a:lnTo>
                    <a:pt x="2103122" y="1447800"/>
                  </a:lnTo>
                  <a:lnTo>
                    <a:pt x="0" y="1447800"/>
                  </a:lnTo>
                  <a:lnTo>
                    <a:pt x="0" y="1442632"/>
                  </a:lnTo>
                  <a:lnTo>
                    <a:pt x="529590" y="723900"/>
                  </a:lnTo>
                  <a:lnTo>
                    <a:pt x="0" y="5168"/>
                  </a:lnTo>
                  <a:lnTo>
                    <a:pt x="0" y="0"/>
                  </a:lnTo>
                  <a:close/>
                </a:path>
              </a:pathLst>
            </a:custGeom>
            <a:solidFill>
              <a:schemeClr val="tx1">
                <a:lumMod val="65000"/>
                <a:lumOff val="35000"/>
                <a:alpha val="39999"/>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12700">
                  <a:solidFill>
                    <a:srgbClr val="42719B"/>
                  </a:solidFill>
                  <a:bevel/>
                </a14:hiddenLine>
              </a:ext>
            </a:extLst>
          </p:spPr>
          <p:txBody>
            <a:bodyPr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9" name="文本框 25"/>
            <p:cNvSpPr>
              <a:spLocks noChangeArrowheads="1"/>
            </p:cNvSpPr>
            <p:nvPr/>
          </p:nvSpPr>
          <p:spPr bwMode="auto">
            <a:xfrm>
              <a:off x="272839" y="356269"/>
              <a:ext cx="2293960" cy="73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20000"/>
                </a:lnSpc>
                <a:spcBef>
                  <a:spcPct val="0"/>
                </a:spcBef>
                <a:buFont typeface="Arial" panose="020B0604020202020204" pitchFamily="34" charset="0"/>
                <a:buNone/>
              </a:pPr>
              <a:r>
                <a:rPr lang="zh-CN" altLang="en-US" sz="1500" b="1" dirty="0">
                  <a:solidFill>
                    <a:schemeClr val="bg1"/>
                  </a:solidFill>
                  <a:latin typeface="Arial" panose="020B0604020202020204" pitchFamily="34" charset="0"/>
                  <a:ea typeface="微软雅黑" panose="020B0503020204020204" pitchFamily="34" charset="-122"/>
                  <a:sym typeface="Arial" panose="020B0604020202020204" pitchFamily="34" charset="0"/>
                </a:rPr>
                <a:t>企业依存观</a:t>
              </a:r>
              <a:endParaRPr lang="zh-CN" altLang="en-US" sz="1500" b="1" baseline="-30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3" name="组合 22"/>
          <p:cNvGrpSpPr/>
          <p:nvPr/>
        </p:nvGrpSpPr>
        <p:grpSpPr bwMode="auto">
          <a:xfrm>
            <a:off x="5472322" y="1080309"/>
            <a:ext cx="2681684" cy="681038"/>
            <a:chOff x="0" y="0"/>
            <a:chExt cx="2636520" cy="1447800"/>
          </a:xfrm>
        </p:grpSpPr>
        <p:sp>
          <p:nvSpPr>
            <p:cNvPr id="14" name="任意多边形 6"/>
            <p:cNvSpPr>
              <a:spLocks noChangeArrowheads="1"/>
            </p:cNvSpPr>
            <p:nvPr/>
          </p:nvSpPr>
          <p:spPr bwMode="auto">
            <a:xfrm>
              <a:off x="0" y="0"/>
              <a:ext cx="2636520" cy="1447800"/>
            </a:xfrm>
            <a:custGeom>
              <a:avLst/>
              <a:gdLst>
                <a:gd name="T0" fmla="*/ 0 w 2636520"/>
                <a:gd name="T1" fmla="*/ 0 h 1447800"/>
                <a:gd name="T2" fmla="*/ 2103122 w 2636520"/>
                <a:gd name="T3" fmla="*/ 0 h 1447800"/>
                <a:gd name="T4" fmla="*/ 2636520 w 2636520"/>
                <a:gd name="T5" fmla="*/ 723900 h 1447800"/>
                <a:gd name="T6" fmla="*/ 2103122 w 2636520"/>
                <a:gd name="T7" fmla="*/ 1447800 h 1447800"/>
                <a:gd name="T8" fmla="*/ 0 w 2636520"/>
                <a:gd name="T9" fmla="*/ 1447800 h 1447800"/>
                <a:gd name="T10" fmla="*/ 0 w 2636520"/>
                <a:gd name="T11" fmla="*/ 1442632 h 1447800"/>
                <a:gd name="T12" fmla="*/ 529590 w 2636520"/>
                <a:gd name="T13" fmla="*/ 723900 h 1447800"/>
                <a:gd name="T14" fmla="*/ 0 w 2636520"/>
                <a:gd name="T15" fmla="*/ 5168 h 1447800"/>
                <a:gd name="T16" fmla="*/ 0 60000 65536"/>
                <a:gd name="T17" fmla="*/ 0 60000 65536"/>
                <a:gd name="T18" fmla="*/ 0 60000 65536"/>
                <a:gd name="T19" fmla="*/ 0 60000 65536"/>
                <a:gd name="T20" fmla="*/ 0 60000 65536"/>
                <a:gd name="T21" fmla="*/ 0 60000 65536"/>
                <a:gd name="T22" fmla="*/ 0 60000 65536"/>
                <a:gd name="T23" fmla="*/ 0 60000 65536"/>
                <a:gd name="T24" fmla="*/ 0 w 2636520"/>
                <a:gd name="T25" fmla="*/ 0 h 1447800"/>
                <a:gd name="T26" fmla="*/ 2636520 w 2636520"/>
                <a:gd name="T27" fmla="*/ 1447800 h 14478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6520" h="1447800">
                  <a:moveTo>
                    <a:pt x="0" y="0"/>
                  </a:moveTo>
                  <a:lnTo>
                    <a:pt x="2103122" y="0"/>
                  </a:lnTo>
                  <a:lnTo>
                    <a:pt x="2636520" y="723900"/>
                  </a:lnTo>
                  <a:lnTo>
                    <a:pt x="2103122" y="1447800"/>
                  </a:lnTo>
                  <a:lnTo>
                    <a:pt x="0" y="1447800"/>
                  </a:lnTo>
                  <a:lnTo>
                    <a:pt x="0" y="1442632"/>
                  </a:lnTo>
                  <a:lnTo>
                    <a:pt x="529590" y="723900"/>
                  </a:lnTo>
                  <a:lnTo>
                    <a:pt x="0" y="5168"/>
                  </a:lnTo>
                  <a:lnTo>
                    <a:pt x="0" y="0"/>
                  </a:lnTo>
                  <a:close/>
                </a:path>
              </a:pathLst>
            </a:custGeom>
            <a:solidFill>
              <a:schemeClr val="tx1">
                <a:lumMod val="65000"/>
                <a:lumOff val="35000"/>
                <a:alpha val="39999"/>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1240B29-F687-4F45-9708-019B960494DF}">
                <a14:hiddenLine xmlns:a14="http://schemas.microsoft.com/office/drawing/2010/main" w="12700">
                  <a:solidFill>
                    <a:srgbClr val="42719B"/>
                  </a:solidFill>
                  <a:bevel/>
                </a14:hiddenLine>
              </a:ext>
            </a:extLst>
          </p:spPr>
          <p:txBody>
            <a:bodyPr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15" name="文本框 27"/>
            <p:cNvSpPr>
              <a:spLocks noChangeArrowheads="1"/>
            </p:cNvSpPr>
            <p:nvPr/>
          </p:nvSpPr>
          <p:spPr bwMode="auto">
            <a:xfrm>
              <a:off x="330619" y="356273"/>
              <a:ext cx="2205655" cy="73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algn="ctr" eaLnBrk="1" hangingPunct="1">
                <a:lnSpc>
                  <a:spcPct val="120000"/>
                </a:lnSpc>
                <a:spcBef>
                  <a:spcPct val="0"/>
                </a:spcBef>
                <a:buFont typeface="Arial" panose="020B0604020202020204" pitchFamily="34" charset="0"/>
                <a:buNone/>
              </a:pPr>
              <a:r>
                <a:rPr lang="zh-CN" altLang="en-US" sz="1500" b="1" dirty="0">
                  <a:solidFill>
                    <a:schemeClr val="bg1"/>
                  </a:solidFill>
                  <a:latin typeface="Arial" panose="020B0604020202020204" pitchFamily="34" charset="0"/>
                  <a:ea typeface="微软雅黑" panose="020B0503020204020204" pitchFamily="34" charset="-122"/>
                  <a:sym typeface="Arial" panose="020B0604020202020204" pitchFamily="34" charset="0"/>
                </a:rPr>
                <a:t>动态演化观</a:t>
              </a:r>
              <a:endParaRPr lang="zh-CN" altLang="en-US" sz="1500" b="1" baseline="-30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18" name="矩形 47"/>
          <p:cNvSpPr>
            <a:spLocks noChangeArrowheads="1"/>
          </p:cNvSpPr>
          <p:nvPr/>
        </p:nvSpPr>
        <p:spPr bwMode="auto">
          <a:xfrm>
            <a:off x="1148080" y="1948275"/>
            <a:ext cx="2086477" cy="2279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20000"/>
              </a:lnSpc>
              <a:spcBef>
                <a:spcPct val="0"/>
              </a:spcBef>
              <a:buFont typeface="Wingdings" panose="05000000000000000000" pitchFamily="2" charset="2"/>
              <a:buChar char="l"/>
            </a:pP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把</a:t>
            </a:r>
            <a:r>
              <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利益相关者作为企业生存的必要条件，研究的重点问题是利益相关者是谁，以及为什么要考虑这些利益相关者的</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利益</a:t>
            </a:r>
            <a:endPar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a:p>
            <a:pPr eaLnBrk="1" hangingPunct="1">
              <a:lnSpc>
                <a:spcPct val="120000"/>
              </a:lnSpc>
              <a:spcBef>
                <a:spcPct val="0"/>
              </a:spcBef>
              <a:buFont typeface="Wingdings" panose="05000000000000000000" pitchFamily="2" charset="2"/>
              <a:buChar char="l"/>
            </a:pPr>
            <a:r>
              <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一方面，利益相关者对企业生存是必要的条件，另一方面，利益相关</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者为了</a:t>
            </a:r>
            <a:r>
              <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自身的利益参与到企业中去，</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企业同时为</a:t>
            </a:r>
            <a:r>
              <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他们提供了</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生存空间</a:t>
            </a:r>
            <a:endPar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0" name="矩形 47"/>
          <p:cNvSpPr>
            <a:spLocks noChangeArrowheads="1"/>
          </p:cNvSpPr>
          <p:nvPr/>
        </p:nvSpPr>
        <p:spPr bwMode="auto">
          <a:xfrm>
            <a:off x="3439925" y="1948275"/>
            <a:ext cx="1965904" cy="2058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20000"/>
              </a:lnSpc>
              <a:spcBef>
                <a:spcPct val="0"/>
              </a:spcBef>
              <a:buFont typeface="Wingdings" panose="05000000000000000000" pitchFamily="2" charset="2"/>
              <a:buChar char="l"/>
            </a:pP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在</a:t>
            </a:r>
            <a:r>
              <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公司战略决策时必须考虑利益相关者的影响，进行利益相关者分析</a:t>
            </a:r>
            <a:r>
              <a:rPr lang="en-US" altLang="zh-CN"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a:t>
            </a:r>
            <a:r>
              <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关键利益相关者的利益必须融合到公司战略目标中去，公司战略的实施也需要利益相关者的积极</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参与</a:t>
            </a:r>
            <a:endPar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a:p>
            <a:pPr eaLnBrk="1" hangingPunct="1">
              <a:lnSpc>
                <a:spcPct val="120000"/>
              </a:lnSpc>
              <a:spcBef>
                <a:spcPct val="0"/>
              </a:spcBef>
              <a:buFont typeface="Arial" panose="020B0604020202020204" pitchFamily="34" charset="0"/>
              <a:buNone/>
            </a:pPr>
            <a:endPar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a:p>
            <a:pPr eaLnBrk="1" hangingPunct="1">
              <a:lnSpc>
                <a:spcPct val="120000"/>
              </a:lnSpc>
              <a:spcBef>
                <a:spcPct val="0"/>
              </a:spcBef>
              <a:buFont typeface="Arial" panose="020B0604020202020204" pitchFamily="34" charset="0"/>
              <a:buNone/>
            </a:pPr>
            <a:endParaRPr lang="zh-CN" altLang="en-US" sz="12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2" name="矩形 47"/>
          <p:cNvSpPr>
            <a:spLocks noChangeArrowheads="1"/>
          </p:cNvSpPr>
          <p:nvPr/>
        </p:nvSpPr>
        <p:spPr bwMode="auto">
          <a:xfrm>
            <a:off x="5740530" y="1917795"/>
            <a:ext cx="2326510" cy="2279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68573" tIns="34287" rIns="68573" bIns="34287">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pitchFamily="3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pitchFamily="3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pitchFamily="3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pitchFamily="34" charset="0"/>
              </a:defRPr>
            </a:lvl9pPr>
          </a:lstStyle>
          <a:p>
            <a:pPr eaLnBrk="1" hangingPunct="1">
              <a:lnSpc>
                <a:spcPct val="120000"/>
              </a:lnSpc>
              <a:spcBef>
                <a:spcPct val="0"/>
              </a:spcBef>
              <a:buFont typeface="Wingdings" panose="05000000000000000000" pitchFamily="2" charset="2"/>
              <a:buChar char="l"/>
            </a:pPr>
            <a:r>
              <a:rPr lang="zh-CN" altLang="en-US" sz="1200" dirty="0" smtClean="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两个核心问题：</a:t>
            </a:r>
            <a:r>
              <a:rPr lang="zh-CN" altLang="en-US" sz="1200" dirty="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一是利益相关者的认定（</a:t>
            </a:r>
            <a:r>
              <a:rPr lang="en-US" altLang="zh-CN" sz="1200" dirty="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Stakeholder Identification</a:t>
            </a:r>
            <a:r>
              <a:rPr lang="zh-CN" altLang="en-US" sz="1200" dirty="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即谁是企业的利益相关者；二是利益相关者的特征（</a:t>
            </a:r>
            <a:r>
              <a:rPr lang="en-US" altLang="zh-CN" sz="1200" dirty="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Stakeholder Salience</a:t>
            </a:r>
            <a:r>
              <a:rPr lang="zh-CN" altLang="en-US" sz="1200" dirty="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即管理层依据什么来给予特定群体以关注</a:t>
            </a:r>
            <a:r>
              <a:rPr lang="zh-CN" altLang="en-US" sz="1200" dirty="0" smtClean="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endParaRPr lang="en-US" altLang="zh-CN" sz="1200" dirty="0" smtClean="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eaLnBrk="1" hangingPunct="1">
              <a:lnSpc>
                <a:spcPct val="120000"/>
              </a:lnSpc>
              <a:spcBef>
                <a:spcPct val="0"/>
              </a:spcBef>
              <a:buFont typeface="Wingdings" panose="05000000000000000000" pitchFamily="2" charset="2"/>
              <a:buChar char="l"/>
            </a:pPr>
            <a:r>
              <a:rPr lang="zh-CN" altLang="en-US" sz="1200" dirty="0" smtClean="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三个评价属性：合法性</a:t>
            </a:r>
            <a:r>
              <a:rPr lang="zh-CN" altLang="en-US" sz="1200" dirty="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1200" dirty="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Legitimacy</a:t>
            </a:r>
            <a:r>
              <a:rPr lang="zh-CN" altLang="en-US" sz="1200" dirty="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权力性（</a:t>
            </a:r>
            <a:r>
              <a:rPr lang="en-US" altLang="zh-CN" sz="1200" dirty="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Power</a:t>
            </a:r>
            <a:r>
              <a:rPr lang="zh-CN" altLang="en-US" sz="1200" dirty="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紧迫性（</a:t>
            </a:r>
            <a:r>
              <a:rPr lang="en-US" altLang="zh-CN" sz="1200" dirty="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Urgency</a:t>
            </a:r>
            <a:r>
              <a:rPr lang="zh-CN" altLang="en-US" sz="1200" dirty="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endParaRPr lang="zh-CN" altLang="en-US" sz="1200" dirty="0">
              <a:solidFill>
                <a:schemeClr val="tx1">
                  <a:lumMod val="65000"/>
                  <a:lumOff val="35000"/>
                </a:schemeClr>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36" name="矩形 35"/>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44" name="Picture 172"/>
          <p:cNvPicPr>
            <a:picLocks noChangeAspect="1" noChangeArrowheads="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8"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42" name="图片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 name="标题 1"/>
          <p:cNvSpPr>
            <a:spLocks noGrp="1"/>
          </p:cNvSpPr>
          <p:nvPr>
            <p:ph type="title"/>
          </p:nvPr>
        </p:nvSpPr>
        <p:spPr>
          <a:xfrm>
            <a:off x="789305" y="104775"/>
            <a:ext cx="2503170" cy="413385"/>
          </a:xfrm>
        </p:spPr>
        <p:txBody>
          <a:bodyPr>
            <a:noAutofit/>
          </a:bodyPr>
          <a:p>
            <a:r>
              <a:rPr lang="zh-CN" altLang="en-US" sz="20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利益相关者理论</a:t>
            </a:r>
            <a:endParaRPr lang="zh-CN" altLang="en-US" sz="20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normAutofit fontScale="60000"/>
          </a:bodyPr>
          <a:p>
            <a:r>
              <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rPr>
              <a:t>利益相关者的广义概念</a:t>
            </a:r>
            <a:endParaRPr lang="zh-CN" altLang="en-US" dirty="0">
              <a:solidFill>
                <a:srgbClr val="0067B0"/>
              </a:solidFill>
              <a:latin typeface="Arial" panose="020B0604020202020204" pitchFamily="34" charset="0"/>
              <a:ea typeface="微软雅黑" panose="020B0503020204020204" pitchFamily="34" charset="-122"/>
              <a:sym typeface="Arial" panose="020B0604020202020204" pitchFamily="34" charset="0"/>
            </a:endParaRPr>
          </a:p>
          <a:p>
            <a:pPr>
              <a:lnSpc>
                <a:spcPct val="120000"/>
              </a:lnSpc>
              <a:buFont typeface="Wingdings" panose="05000000000000000000" pitchFamily="2" charset="2"/>
              <a:buChar char="l"/>
            </a:pPr>
            <a:r>
              <a:rPr lang="zh-CN" altLang="en-US"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费曼认为利益相关者是指能够影响一个组织实现其目标，或者受到组织目标实现过程影响的任何组织和个人。涵盖了影响企业运营与受企业运营影响的个人和群体，包括股东、管理者、雇员、供应商、客户、社区以及环境</a:t>
            </a:r>
            <a:r>
              <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等</a:t>
            </a:r>
            <a:endParaRPr lang="en-US" altLang="zh-CN"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a:lnSpc>
                <a:spcPct val="120000"/>
              </a:lnSpc>
              <a:buFont typeface="Wingdings" panose="05000000000000000000" pitchFamily="2" charset="2"/>
              <a:buChar char="l"/>
            </a:pPr>
            <a:r>
              <a:rPr lang="zh-CN" altLang="en-US"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斯塔里克（</a:t>
            </a:r>
            <a:r>
              <a:rPr lang="en-US" altLang="zh-CN" dirty="0" err="1">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Starik</a:t>
            </a:r>
            <a:r>
              <a:rPr lang="zh-CN" altLang="en-US"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认为利益相关者能够并且正在向企业“投注”，他们受到或可能受到组织影响，也可能对组织造成现实或潜在的影响。斯塔里克将利益相关者的范围扩展为潜在受影响者或影响者，实际上是将利益相关者放在企业运行的动态过程中来</a:t>
            </a:r>
            <a:r>
              <a:rPr lang="zh-CN" altLang="en-US"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考察</a:t>
            </a:r>
            <a:endParaRPr lang="zh-CN" altLang="en-US"/>
          </a:p>
        </p:txBody>
      </p:sp>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35" name="图片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730885" y="104775"/>
            <a:ext cx="2446020" cy="432435"/>
          </a:xfrm>
        </p:spPr>
        <p:txBody>
          <a:bodyPr>
            <a:noAutofit/>
          </a:bodyPr>
          <a:p>
            <a:r>
              <a:rPr lang="zh-CN" altLang="en-US" sz="20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利益相关者概念</a:t>
            </a:r>
            <a:endParaRPr lang="zh-CN" altLang="en-US" sz="20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635" y="508635"/>
            <a:ext cx="9102725" cy="4086225"/>
          </a:xfrm>
        </p:spPr>
        <p:txBody>
          <a:bodyPr>
            <a:noAutofit/>
          </a:bodyPr>
          <a:p>
            <a:r>
              <a:rPr lang="zh-CN" altLang="en-US" sz="1600" dirty="0">
                <a:solidFill>
                  <a:srgbClr val="0067B0"/>
                </a:solidFill>
                <a:latin typeface="Arial" panose="020B0604020202020204" pitchFamily="34" charset="0"/>
                <a:ea typeface="微软雅黑" panose="020B0503020204020204" pitchFamily="34" charset="-122"/>
                <a:sym typeface="Arial" panose="020B0604020202020204" pitchFamily="34" charset="0"/>
              </a:rPr>
              <a:t>利益相关者</a:t>
            </a:r>
            <a:r>
              <a:rPr lang="zh-CN" altLang="en-US" sz="16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的狭义概念</a:t>
            </a:r>
            <a:endParaRPr lang="zh-CN" altLang="en-US" sz="16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a:p>
            <a:pPr>
              <a:lnSpc>
                <a:spcPct val="120000"/>
              </a:lnSpc>
              <a:buFont typeface="Wingdings" panose="05000000000000000000" pitchFamily="2" charset="2"/>
              <a:buChar char="l"/>
            </a:pPr>
            <a:r>
              <a:rPr lang="zh-CN" altLang="en-US" sz="16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克拉克森（</a:t>
            </a:r>
            <a:r>
              <a:rPr lang="en-US" altLang="zh-CN" sz="16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Clarkson</a:t>
            </a:r>
            <a:r>
              <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将</a:t>
            </a:r>
            <a:r>
              <a:rPr lang="zh-CN" altLang="en-US" sz="16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利益相关者定义为“自愿和非自愿的风险承担者”，将企业的利益相关者限制在是否承担风险这一条件上。</a:t>
            </a:r>
            <a:r>
              <a:rPr lang="en-US" altLang="zh-CN" sz="16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1995</a:t>
            </a:r>
            <a:r>
              <a:rPr lang="zh-CN" altLang="en-US" sz="16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年，他又将利益相关者定义为对企业及其活动具有所有权、索取权和利益要求的个人和组织，并将利益相关者分为</a:t>
            </a:r>
            <a:r>
              <a:rPr lang="zh-CN" altLang="en-US" sz="1600" b="1"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首要利益相关者和次要利益相关者</a:t>
            </a:r>
            <a:r>
              <a:rPr lang="zh-CN" altLang="en-US" sz="16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该定义通过引入对企业的特殊资产或其他投入的限制条件，缩小了利益相关者的范围，将利益相关者限定在对企业有投入的人或群体</a:t>
            </a:r>
            <a:r>
              <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上</a:t>
            </a:r>
            <a:endPar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a:lnSpc>
                <a:spcPct val="120000"/>
              </a:lnSpc>
            </a:pPr>
            <a:r>
              <a:rPr lang="zh-CN" altLang="en-US" sz="16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国内学者杨瑞龙将学术界提出的</a:t>
            </a:r>
            <a:r>
              <a:rPr lang="en-US" altLang="zh-CN" sz="16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30</a:t>
            </a:r>
            <a:r>
              <a:rPr lang="zh-CN" altLang="en-US" sz="16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多种利益相关者的概念</a:t>
            </a:r>
            <a:r>
              <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由宽至窄归纳</a:t>
            </a:r>
            <a:r>
              <a:rPr lang="zh-CN" altLang="en-US" sz="16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为三类</a:t>
            </a:r>
            <a:r>
              <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定义：</a:t>
            </a:r>
            <a:endPar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a:lnSpc>
                <a:spcPct val="120000"/>
              </a:lnSpc>
              <a:buFont typeface="Wingdings" panose="05000000000000000000" pitchFamily="2" charset="2"/>
              <a:buChar char="l"/>
            </a:pPr>
            <a:r>
              <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第一类</a:t>
            </a:r>
            <a:r>
              <a:rPr lang="zh-CN" altLang="en-US" sz="16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a:t>
            </a:r>
            <a:r>
              <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凡是</a:t>
            </a:r>
            <a:r>
              <a:rPr lang="zh-CN" altLang="en-US" sz="16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能影响企业活动或被企业活动所影响的人或团体都是利益相关者。股东、债权人、雇员、供应商、消费者、政府部门、相关的社会组织和社会团体、社会成员等，全部纳入此</a:t>
            </a:r>
            <a:r>
              <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范围</a:t>
            </a:r>
            <a:endPar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a:lnSpc>
                <a:spcPct val="120000"/>
              </a:lnSpc>
              <a:buFont typeface="Wingdings" panose="05000000000000000000" pitchFamily="2" charset="2"/>
              <a:buChar char="l"/>
            </a:pPr>
            <a:r>
              <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第二类：凡是</a:t>
            </a:r>
            <a:r>
              <a:rPr lang="zh-CN" altLang="en-US" sz="16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与企业有直接关系的人或团体才是利益相关者。该定义排除了政府部门、社会组织及社会团体、社会成员</a:t>
            </a:r>
            <a:r>
              <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等</a:t>
            </a:r>
            <a:endPar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a:p>
            <a:pPr>
              <a:lnSpc>
                <a:spcPct val="120000"/>
              </a:lnSpc>
              <a:buFont typeface="Wingdings" panose="05000000000000000000" pitchFamily="2" charset="2"/>
              <a:buChar char="l"/>
            </a:pPr>
            <a:r>
              <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第三类：只有</a:t>
            </a:r>
            <a:r>
              <a:rPr lang="zh-CN" altLang="en-US" sz="1600" dirty="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在企业中下了“赌注”的人或团体才是利益相关者。这一定义直接与主流经济学中的“资产专用性”概念相通，就是只有在企业中投入了专用性资产的人或团体才是利益相关</a:t>
            </a:r>
            <a:r>
              <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rPr>
              <a:t>者</a:t>
            </a:r>
            <a:endParaRPr lang="zh-CN" altLang="en-US" sz="1600" dirty="0" smtClean="0">
              <a:solidFill>
                <a:schemeClr val="tx1">
                  <a:lumMod val="75000"/>
                  <a:lumOff val="25000"/>
                </a:schemeClr>
              </a:solidFill>
              <a:latin typeface="Arial" panose="020B0604020202020204" pitchFamily="34" charset="0"/>
              <a:ea typeface="微软雅黑" panose="020B0503020204020204" pitchFamily="34" charset="-122"/>
              <a:cs typeface="方正兰亭细黑_GBK_M" pitchFamily="2" charset="2"/>
              <a:sym typeface="Arial" panose="020B0604020202020204" pitchFamily="34" charset="0"/>
            </a:endParaRPr>
          </a:p>
        </p:txBody>
      </p:sp>
      <p:sp>
        <p:nvSpPr>
          <p:cNvPr id="24" name="矩形 23"/>
          <p:cNvSpPr/>
          <p:nvPr/>
        </p:nvSpPr>
        <p:spPr>
          <a:xfrm>
            <a:off x="0" y="5023291"/>
            <a:ext cx="9144000" cy="100719"/>
          </a:xfrm>
          <a:prstGeom prst="rect">
            <a:avLst/>
          </a:prstGeom>
          <a:solidFill>
            <a:srgbClr val="008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pic>
        <p:nvPicPr>
          <p:cNvPr id="32" name="Picture 172"/>
          <p:cNvPicPr>
            <a:picLocks noChangeAspect="1" noChangeArrowheads="1"/>
          </p:cNvPicPr>
          <p:nvPr/>
        </p:nvPicPr>
        <p:blipFill>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47280" y="95902"/>
            <a:ext cx="1655184" cy="689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图片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2291" y="140572"/>
            <a:ext cx="2108371" cy="364572"/>
          </a:xfrm>
          <a:prstGeom prst="homePlate">
            <a:avLst>
              <a:gd name="adj" fmla="val 34324"/>
            </a:avLst>
          </a:prstGeom>
        </p:spPr>
      </p:pic>
      <p:pic>
        <p:nvPicPr>
          <p:cNvPr id="35" name="图片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2162" y="144448"/>
            <a:ext cx="254645" cy="364572"/>
          </a:xfrm>
          <a:prstGeom prst="chevron">
            <a:avLst/>
          </a:prstGeom>
        </p:spPr>
      </p:pic>
      <p:sp>
        <p:nvSpPr>
          <p:cNvPr id="23" name="直角三角形 72"/>
          <p:cNvSpPr>
            <a:spLocks noChangeArrowheads="1"/>
          </p:cNvSpPr>
          <p:nvPr/>
        </p:nvSpPr>
        <p:spPr bwMode="auto">
          <a:xfrm rot="5400000">
            <a:off x="-793" y="-2382"/>
            <a:ext cx="889000" cy="893763"/>
          </a:xfrm>
          <a:prstGeom prst="rtTriangle">
            <a:avLst/>
          </a:prstGeom>
          <a:solidFill>
            <a:srgbClr val="EE403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直角三角形 73"/>
          <p:cNvSpPr>
            <a:spLocks noChangeArrowheads="1"/>
          </p:cNvSpPr>
          <p:nvPr/>
        </p:nvSpPr>
        <p:spPr bwMode="auto">
          <a:xfrm rot="5400000">
            <a:off x="0" y="0"/>
            <a:ext cx="730250" cy="730250"/>
          </a:xfrm>
          <a:prstGeom prst="rtTriangle">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直角三角形 74"/>
          <p:cNvSpPr>
            <a:spLocks noChangeArrowheads="1"/>
          </p:cNvSpPr>
          <p:nvPr/>
        </p:nvSpPr>
        <p:spPr bwMode="auto">
          <a:xfrm rot="5400000">
            <a:off x="104775" y="104775"/>
            <a:ext cx="525463" cy="525463"/>
          </a:xfrm>
          <a:prstGeom prst="rtTriangle">
            <a:avLst/>
          </a:prstGeom>
          <a:solidFill>
            <a:srgbClr val="FBB61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矩形 75"/>
          <p:cNvSpPr>
            <a:spLocks noChangeArrowheads="1"/>
          </p:cNvSpPr>
          <p:nvPr/>
        </p:nvSpPr>
        <p:spPr bwMode="auto">
          <a:xfrm rot="2700000">
            <a:off x="350044" y="29369"/>
            <a:ext cx="112713" cy="746125"/>
          </a:xfrm>
          <a:prstGeom prst="rect">
            <a:avLst/>
          </a:prstGeom>
          <a:solidFill>
            <a:srgbClr val="E7A2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685800" fontAlgn="base">
              <a:spcBef>
                <a:spcPct val="0"/>
              </a:spcBef>
              <a:spcAft>
                <a:spcPct val="0"/>
              </a:spcAft>
              <a:buFont typeface="Arial" panose="020B0604020202020204" pitchFamily="34" charset="0"/>
              <a:buNone/>
            </a:pPr>
            <a:endParaRPr lang="zh-CN" altLang="zh-CN" sz="13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p:cNvSpPr>
            <a:spLocks noGrp="1"/>
          </p:cNvSpPr>
          <p:nvPr>
            <p:ph type="title"/>
          </p:nvPr>
        </p:nvSpPr>
        <p:spPr>
          <a:xfrm>
            <a:off x="457200" y="205740"/>
            <a:ext cx="2992120" cy="303530"/>
          </a:xfrm>
        </p:spPr>
        <p:txBody>
          <a:bodyPr>
            <a:noAutofit/>
          </a:bodyPr>
          <a:p>
            <a:r>
              <a:rPr lang="zh-CN" altLang="en-US" sz="20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rPr>
              <a:t>利益相关者概念</a:t>
            </a:r>
            <a:endParaRPr lang="zh-CN" altLang="en-US" sz="2000" b="1" spc="300" dirty="0" smtClean="0">
              <a:solidFill>
                <a:srgbClr val="0067B0"/>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SELECTED" val="True"/>
</p:tagLst>
</file>

<file path=ppt/tags/tag11.xml><?xml version="1.0" encoding="utf-8"?>
<p:tagLst xmlns:p="http://schemas.openxmlformats.org/presentationml/2006/main">
  <p:tag name="SELECTED" val="True"/>
</p:tagLst>
</file>

<file path=ppt/tags/tag12.xml><?xml version="1.0" encoding="utf-8"?>
<p:tagLst xmlns:p="http://schemas.openxmlformats.org/presentationml/2006/main">
  <p:tag name="SELECTED" val="Tru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SELECTED" val="Tru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SELECTED" val="True"/>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SELECTED" val="True"/>
</p:tagLst>
</file>

<file path=ppt/tags/tag2.xml><?xml version="1.0" encoding="utf-8"?>
<p:tagLst xmlns:p="http://schemas.openxmlformats.org/presentationml/2006/main">
  <p:tag name="SELECTED" val="Tru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SELECTED" val="Tru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SELECTED" val="Tru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SELECTED" val="True"/>
</p:tagLst>
</file>

<file path=ppt/tags/tag26.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SELECTED" val="True"/>
</p:tagLst>
</file>

<file path=ppt/tags/tag28.xml><?xml version="1.0" encoding="utf-8"?>
<p:tagLst xmlns:p="http://schemas.openxmlformats.org/presentationml/2006/main">
  <p:tag name="THINKCELLSHAPEDONOTDELETE" val="thinkcellActiveDocDoNotDelete"/>
</p:tagLst>
</file>

<file path=ppt/tags/tag29.xml><?xml version="1.0" encoding="utf-8"?>
<p:tagLst xmlns:p="http://schemas.openxmlformats.org/presentationml/2006/main">
  <p:tag name="SELECTED" val="True"/>
</p:tagLst>
</file>

<file path=ppt/tags/tag3.xml><?xml version="1.0" encoding="utf-8"?>
<p:tagLst xmlns:p="http://schemas.openxmlformats.org/presentationml/2006/main">
  <p:tag name="SELECTED" val="True"/>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SELECTED" val="True"/>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SELECTED" val="True"/>
</p:tagLst>
</file>

<file path=ppt/tags/tag34.xml><?xml version="1.0" encoding="utf-8"?>
<p:tagLst xmlns:p="http://schemas.openxmlformats.org/presentationml/2006/main">
  <p:tag name="THINKCELLSHAPEDONOTDELETE" val="thinkcellActiveDocDoNotDelete"/>
</p:tagLst>
</file>

<file path=ppt/tags/tag35.xml><?xml version="1.0" encoding="utf-8"?>
<p:tagLst xmlns:p="http://schemas.openxmlformats.org/presentationml/2006/main">
  <p:tag name="SELECTED" val="True"/>
</p:tagLst>
</file>

<file path=ppt/tags/tag36.xml><?xml version="1.0" encoding="utf-8"?>
<p:tagLst xmlns:p="http://schemas.openxmlformats.org/presentationml/2006/main">
  <p:tag name="SELECTED" val="True"/>
</p:tagLst>
</file>

<file path=ppt/tags/tag37.xml><?xml version="1.0" encoding="utf-8"?>
<p:tagLst xmlns:p="http://schemas.openxmlformats.org/presentationml/2006/main">
  <p:tag name="THINKCELLSHAPEDONOTDELETE" val="thinkcellActiveDocDoNotDelete"/>
</p:tagLst>
</file>

<file path=ppt/tags/tag38.xml><?xml version="1.0" encoding="utf-8"?>
<p:tagLst xmlns:p="http://schemas.openxmlformats.org/presentationml/2006/main">
  <p:tag name="SELECTED" val="True"/>
</p:tagLst>
</file>

<file path=ppt/tags/tag4.xml><?xml version="1.0" encoding="utf-8"?>
<p:tagLst xmlns:p="http://schemas.openxmlformats.org/presentationml/2006/main">
  <p:tag name="SELECTED" val="True"/>
</p:tagLst>
</file>

<file path=ppt/tags/tag5.xml><?xml version="1.0" encoding="utf-8"?>
<p:tagLst xmlns:p="http://schemas.openxmlformats.org/presentationml/2006/main">
  <p:tag name="SELECTED" val="True"/>
</p:tagLst>
</file>

<file path=ppt/tags/tag6.xml><?xml version="1.0" encoding="utf-8"?>
<p:tagLst xmlns:p="http://schemas.openxmlformats.org/presentationml/2006/main">
  <p:tag name="SELECTED" val="True"/>
</p:tagLst>
</file>

<file path=ppt/tags/tag7.xml><?xml version="1.0" encoding="utf-8"?>
<p:tagLst xmlns:p="http://schemas.openxmlformats.org/presentationml/2006/main">
  <p:tag name="SELECTED" val="Tru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SELECTED" val="Tru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312</Words>
  <Application>WPS 演示</Application>
  <PresentationFormat>全屏显示(16:9)</PresentationFormat>
  <Paragraphs>465</Paragraphs>
  <Slides>33</Slides>
  <Notes>33</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0</vt:i4>
      </vt:variant>
      <vt:variant>
        <vt:lpstr>幻灯片标题</vt:lpstr>
      </vt:variant>
      <vt:variant>
        <vt:i4>33</vt:i4>
      </vt:variant>
    </vt:vector>
  </HeadingPairs>
  <TitlesOfParts>
    <vt:vector size="47" baseType="lpstr">
      <vt:lpstr>Arial</vt:lpstr>
      <vt:lpstr>宋体</vt:lpstr>
      <vt:lpstr>Wingdings</vt:lpstr>
      <vt:lpstr>Yuanti SC Regular</vt:lpstr>
      <vt:lpstr>微软雅黑</vt:lpstr>
      <vt:lpstr>方正兰亭细黑_GBK_M</vt:lpstr>
      <vt:lpstr>Times New Roman</vt:lpstr>
      <vt:lpstr>方正兰亭黑_GBK</vt:lpstr>
      <vt:lpstr>Calibri</vt:lpstr>
      <vt:lpstr>Segoe Print</vt:lpstr>
      <vt:lpstr>Arial Unicode MS</vt:lpstr>
      <vt:lpstr>Arial Unicode MS</vt:lpstr>
      <vt:lpstr>黑体</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www.microsoft.co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6</dc:title>
  <dc:creator>User</dc:creator>
  <cp:lastModifiedBy>fu</cp:lastModifiedBy>
  <cp:revision>119</cp:revision>
  <dcterms:created xsi:type="dcterms:W3CDTF">2015-01-22T11:01:00Z</dcterms:created>
  <dcterms:modified xsi:type="dcterms:W3CDTF">2017-12-09T16:2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930</vt:lpwstr>
  </property>
</Properties>
</file>